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ink/ink1.xml" ContentType="application/inkml+xml"/>
  <Override PartName="/ppt/tags/tag30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9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40.xml" ContentType="application/vnd.openxmlformats-officedocument.presentationml.tags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tags/tag49.xml" ContentType="application/vnd.openxmlformats-officedocument.presentationml.tags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ink/ink2.xml" ContentType="application/inkml+xml"/>
  <Override PartName="/ppt/ink/ink3.xml" ContentType="application/inkml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2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26" r:id="rId18"/>
    <p:sldMasterId id="2147483838" r:id="rId19"/>
  </p:sldMasterIdLst>
  <p:notesMasterIdLst>
    <p:notesMasterId r:id="rId63"/>
  </p:notesMasterIdLst>
  <p:handoutMasterIdLst>
    <p:handoutMasterId r:id="rId64"/>
  </p:handoutMasterIdLst>
  <p:sldIdLst>
    <p:sldId id="256" r:id="rId20"/>
    <p:sldId id="3536" r:id="rId21"/>
    <p:sldId id="3432" r:id="rId22"/>
    <p:sldId id="3506" r:id="rId23"/>
    <p:sldId id="3498" r:id="rId24"/>
    <p:sldId id="3507" r:id="rId25"/>
    <p:sldId id="3481" r:id="rId26"/>
    <p:sldId id="3508" r:id="rId27"/>
    <p:sldId id="3492" r:id="rId28"/>
    <p:sldId id="3480" r:id="rId29"/>
    <p:sldId id="3422" r:id="rId30"/>
    <p:sldId id="3509" r:id="rId31"/>
    <p:sldId id="3471" r:id="rId32"/>
    <p:sldId id="3442" r:id="rId33"/>
    <p:sldId id="3524" r:id="rId34"/>
    <p:sldId id="3525" r:id="rId35"/>
    <p:sldId id="3501" r:id="rId36"/>
    <p:sldId id="3526" r:id="rId37"/>
    <p:sldId id="3538" r:id="rId38"/>
    <p:sldId id="3539" r:id="rId39"/>
    <p:sldId id="3537" r:id="rId40"/>
    <p:sldId id="3527" r:id="rId41"/>
    <p:sldId id="3523" r:id="rId42"/>
    <p:sldId id="3528" r:id="rId43"/>
    <p:sldId id="3520" r:id="rId44"/>
    <p:sldId id="3467" r:id="rId45"/>
    <p:sldId id="3474" r:id="rId46"/>
    <p:sldId id="3521" r:id="rId47"/>
    <p:sldId id="3464" r:id="rId48"/>
    <p:sldId id="3475" r:id="rId49"/>
    <p:sldId id="3531" r:id="rId50"/>
    <p:sldId id="3519" r:id="rId51"/>
    <p:sldId id="3522" r:id="rId52"/>
    <p:sldId id="3532" r:id="rId53"/>
    <p:sldId id="3490" r:id="rId54"/>
    <p:sldId id="3533" r:id="rId55"/>
    <p:sldId id="3494" r:id="rId56"/>
    <p:sldId id="3534" r:id="rId57"/>
    <p:sldId id="3496" r:id="rId58"/>
    <p:sldId id="3535" r:id="rId59"/>
    <p:sldId id="3497" r:id="rId60"/>
    <p:sldId id="3529" r:id="rId61"/>
    <p:sldId id="3493" r:id="rId62"/>
  </p:sldIdLst>
  <p:sldSz cx="12192000" cy="6858000"/>
  <p:notesSz cx="7315200" cy="9601200"/>
  <p:custDataLst>
    <p:tags r:id="rId6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6" orient="horz" pos="1457" userDrawn="1">
          <p15:clr>
            <a:srgbClr val="A4A3A4"/>
          </p15:clr>
        </p15:guide>
        <p15:guide id="17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0166CB"/>
    <a:srgbClr val="ED8013"/>
    <a:srgbClr val="014693"/>
    <a:srgbClr val="A3B3D0"/>
    <a:srgbClr val="DB291C"/>
    <a:srgbClr val="FFFFFF"/>
    <a:srgbClr val="8D9C1B"/>
    <a:srgbClr val="000000"/>
    <a:srgbClr val="FFC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" v="1121" dt="2021-02-10T16:03:01.309"/>
    <p1510:client id="{05B4F4AF-59CF-407E-82F1-4DE77029010F}" v="2" dt="2021-02-11T06:48:43.174"/>
    <p1510:client id="{13C68AA6-8DE4-4896-808B-3F1CD7038372}" v="2" dt="2021-02-10T14:19:51.489"/>
    <p1510:client id="{1F0BCEAF-28C0-4F4B-B629-64A8E0A5FE58}" v="15" dt="2021-02-10T09:00:09.967"/>
    <p1510:client id="{2F05698B-AB34-4394-BA94-E663E5B7D251}" v="372" dt="2021-02-11T06:30:39.918"/>
    <p1510:client id="{41A8683C-3F95-47A2-9B6F-2B3F8414B857}" v="1138" dt="2021-02-11T06:43:48.560"/>
    <p1510:client id="{4957399E-7E74-4075-8854-038DDAE1FC65}" v="9" dt="2021-02-11T07:30:03.092"/>
    <p1510:client id="{79023959-25C9-41F9-AE89-C62770D367FB}" v="364" dt="2021-02-10T07:38:46.183"/>
    <p1510:client id="{91D7CE1A-4BD2-4025-8B93-2183BACFBE90}" v="1" dt="2021-02-11T06:33:42.307"/>
    <p1510:client id="{B2A08E49-83EC-9138-48CA-B38B4F7EDAD4}" v="809" dt="2021-02-10T15:34:58.814"/>
    <p1510:client id="{C9F4F3E1-E5A8-4061-807A-0D60A6F918D0}" v="1" dt="2021-02-11T09:35:51.739"/>
    <p1510:client id="{CD78BA3D-EC2C-455B-B8C8-8AD2CEF3287E}" v="9" dt="2021-02-11T06:12:46.092"/>
    <p1510:client id="{EE75C718-B416-47D5-A747-7CCE2DB43C25}" v="8739" dt="2021-02-11T06:55:14.8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0" d="100"/>
          <a:sy n="100" d="100"/>
        </p:scale>
        <p:origin x="876" y="78"/>
      </p:cViewPr>
      <p:guideLst>
        <p:guide orient="horz" pos="145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1.xml"/><Relationship Id="rId26" Type="http://schemas.openxmlformats.org/officeDocument/2006/relationships/slide" Target="slides/slide7.xml"/><Relationship Id="rId39" Type="http://schemas.openxmlformats.org/officeDocument/2006/relationships/slide" Target="slides/slide20.xml"/><Relationship Id="rId21" Type="http://schemas.openxmlformats.org/officeDocument/2006/relationships/slide" Target="slides/slide2.xml"/><Relationship Id="rId34" Type="http://schemas.openxmlformats.org/officeDocument/2006/relationships/slide" Target="slides/slide15.xml"/><Relationship Id="rId42" Type="http://schemas.openxmlformats.org/officeDocument/2006/relationships/slide" Target="slides/slide23.xml"/><Relationship Id="rId47" Type="http://schemas.openxmlformats.org/officeDocument/2006/relationships/slide" Target="slides/slide28.xml"/><Relationship Id="rId50" Type="http://schemas.openxmlformats.org/officeDocument/2006/relationships/slide" Target="slides/slide31.xml"/><Relationship Id="rId55" Type="http://schemas.openxmlformats.org/officeDocument/2006/relationships/slide" Target="slides/slide36.xml"/><Relationship Id="rId63" Type="http://schemas.openxmlformats.org/officeDocument/2006/relationships/notesMaster" Target="notesMasters/notesMaster1.xml"/><Relationship Id="rId68" Type="http://schemas.openxmlformats.org/officeDocument/2006/relationships/theme" Target="theme/theme1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slide" Target="slides/slide10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slide" Target="slides/slide18.xml"/><Relationship Id="rId40" Type="http://schemas.openxmlformats.org/officeDocument/2006/relationships/slide" Target="slides/slide21.xml"/><Relationship Id="rId45" Type="http://schemas.openxmlformats.org/officeDocument/2006/relationships/slide" Target="slides/slide26.xml"/><Relationship Id="rId53" Type="http://schemas.openxmlformats.org/officeDocument/2006/relationships/slide" Target="slides/slide34.xml"/><Relationship Id="rId58" Type="http://schemas.openxmlformats.org/officeDocument/2006/relationships/slide" Target="slides/slide39.xml"/><Relationship Id="rId66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slide" Target="slides/slide17.xml"/><Relationship Id="rId49" Type="http://schemas.openxmlformats.org/officeDocument/2006/relationships/slide" Target="slides/slide30.xml"/><Relationship Id="rId57" Type="http://schemas.openxmlformats.org/officeDocument/2006/relationships/slide" Target="slides/slide38.xml"/><Relationship Id="rId61" Type="http://schemas.openxmlformats.org/officeDocument/2006/relationships/slide" Target="slides/slide42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2.xml"/><Relationship Id="rId31" Type="http://schemas.openxmlformats.org/officeDocument/2006/relationships/slide" Target="slides/slide12.xml"/><Relationship Id="rId44" Type="http://schemas.openxmlformats.org/officeDocument/2006/relationships/slide" Target="slides/slide25.xml"/><Relationship Id="rId52" Type="http://schemas.openxmlformats.org/officeDocument/2006/relationships/slide" Target="slides/slide33.xml"/><Relationship Id="rId60" Type="http://schemas.openxmlformats.org/officeDocument/2006/relationships/slide" Target="slides/slide41.xml"/><Relationship Id="rId65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slide" Target="slides/slide16.xml"/><Relationship Id="rId43" Type="http://schemas.openxmlformats.org/officeDocument/2006/relationships/slide" Target="slides/slide24.xml"/><Relationship Id="rId48" Type="http://schemas.openxmlformats.org/officeDocument/2006/relationships/slide" Target="slides/slide29.xml"/><Relationship Id="rId56" Type="http://schemas.openxmlformats.org/officeDocument/2006/relationships/slide" Target="slides/slide37.xml"/><Relationship Id="rId64" Type="http://schemas.openxmlformats.org/officeDocument/2006/relationships/handoutMaster" Target="handoutMasters/handoutMaster1.xml"/><Relationship Id="rId69" Type="http://schemas.openxmlformats.org/officeDocument/2006/relationships/tableStyles" Target="tableStyles.xml"/><Relationship Id="rId8" Type="http://schemas.openxmlformats.org/officeDocument/2006/relationships/customXml" Target="../customXml/item8.xml"/><Relationship Id="rId51" Type="http://schemas.openxmlformats.org/officeDocument/2006/relationships/slide" Target="slides/slide32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slide" Target="slides/slide19.xml"/><Relationship Id="rId46" Type="http://schemas.openxmlformats.org/officeDocument/2006/relationships/slide" Target="slides/slide27.xml"/><Relationship Id="rId59" Type="http://schemas.openxmlformats.org/officeDocument/2006/relationships/slide" Target="slides/slide40.xml"/><Relationship Id="rId67" Type="http://schemas.openxmlformats.org/officeDocument/2006/relationships/viewProps" Target="viewProps.xml"/><Relationship Id="rId20" Type="http://schemas.openxmlformats.org/officeDocument/2006/relationships/slide" Target="slides/slide1.xml"/><Relationship Id="rId41" Type="http://schemas.openxmlformats.org/officeDocument/2006/relationships/slide" Target="slides/slide22.xml"/><Relationship Id="rId54" Type="http://schemas.openxmlformats.org/officeDocument/2006/relationships/slide" Target="slides/slide35.xml"/><Relationship Id="rId62" Type="http://schemas.openxmlformats.org/officeDocument/2006/relationships/slide" Target="slides/slide43.xml"/><Relationship Id="rId70" Type="http://schemas.microsoft.com/office/2015/10/relationships/revisionInfo" Target="revisionInfo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C295B7D-F857-4701-B417-8CA96F6BFFDD}" type="doc">
      <dgm:prSet loTypeId="urn:microsoft.com/office/officeart/2005/8/layout/hChevron3" loCatId="process" qsTypeId="urn:microsoft.com/office/officeart/2005/8/quickstyle/simple1" qsCatId="simple" csTypeId="urn:microsoft.com/office/officeart/2005/8/colors/accent1_4" csCatId="accent1" phldr="1"/>
      <dgm:spPr/>
    </dgm:pt>
    <dgm:pt modelId="{A53DFD9A-4278-42D6-A32D-23B9914C2737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Jan</a:t>
          </a:r>
        </a:p>
      </dgm:t>
    </dgm:pt>
    <dgm:pt modelId="{C30E3508-CF4C-4B17-87E1-A6BED450C84C}" type="parTrans" cxnId="{9568A93D-94F9-4966-83A3-C88683C6E04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F913E39C-95FC-4BA4-ACCA-4E5091F2C97B}" type="sibTrans" cxnId="{9568A93D-94F9-4966-83A3-C88683C6E04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63EB9005-20D6-42A4-8C4A-7C18913D6523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Feb</a:t>
          </a:r>
          <a:endParaRPr lang="nb-NO" sz="1600">
            <a:solidFill>
              <a:schemeClr val="tx1"/>
            </a:solidFill>
          </a:endParaRPr>
        </a:p>
      </dgm:t>
    </dgm:pt>
    <dgm:pt modelId="{25DDDD1A-08A4-409F-999B-57C5FB8AB6CB}" type="parTrans" cxnId="{E8394DAF-9D12-4B0A-896C-47AF58C463C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3C1E42E-ED5E-4F1D-A7CD-F9740C80DF3F}" type="sibTrans" cxnId="{E8394DAF-9D12-4B0A-896C-47AF58C463C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8CE7B1C9-0BD2-4462-B32D-4D31702C3E76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Mars</a:t>
          </a:r>
        </a:p>
      </dgm:t>
    </dgm:pt>
    <dgm:pt modelId="{2AC01C37-0939-40DE-8923-1C6C6C2610E7}" type="parTrans" cxnId="{08293CC0-CF60-46A6-9A8B-B99354DEC368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1939085-C2EE-49FB-A072-89E3A38B12AF}" type="sibTrans" cxnId="{08293CC0-CF60-46A6-9A8B-B99354DEC368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0D86B1FE-AC4F-4FD1-AA3C-F1D7B07E3891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April</a:t>
          </a:r>
        </a:p>
      </dgm:t>
    </dgm:pt>
    <dgm:pt modelId="{9786C803-8CC5-49F3-B443-4FD751F8C0F2}" type="parTrans" cxnId="{CF3A7C11-1D1F-4917-8C1E-F7A6905A066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D0EB1B8E-3D62-436B-81AE-22CFF478D2F7}" type="sibTrans" cxnId="{CF3A7C11-1D1F-4917-8C1E-F7A6905A066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7DD039A-6E5A-40AF-8817-8BECD499E1D2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Mai</a:t>
          </a:r>
        </a:p>
      </dgm:t>
    </dgm:pt>
    <dgm:pt modelId="{2DE9AB6D-5608-41E5-8EE2-B72BA286AE64}" type="parTrans" cxnId="{CF24E739-EC0D-440F-A384-F98ECBC87BE3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3E85B2B3-1759-4FE0-91CD-CCF04ACFDEA0}" type="sibTrans" cxnId="{CF24E739-EC0D-440F-A384-F98ECBC87BE3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4109414-31C0-4083-AFBC-0DA7D9E02CA5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Jun</a:t>
          </a:r>
          <a:endParaRPr lang="nb-NO" sz="1600">
            <a:solidFill>
              <a:schemeClr val="tx1"/>
            </a:solidFill>
          </a:endParaRPr>
        </a:p>
      </dgm:t>
    </dgm:pt>
    <dgm:pt modelId="{306C2B99-300B-44C4-B366-86CC00129EE1}" type="parTrans" cxnId="{6668B6E7-1C13-4DC7-A4D8-4E774C5F79A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D57F9888-59DD-4B8B-8001-885D841C0BC9}" type="sibTrans" cxnId="{6668B6E7-1C13-4DC7-A4D8-4E774C5F79A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901B503-3290-41FB-B3F8-0B587FC33E3B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Jul</a:t>
          </a:r>
        </a:p>
      </dgm:t>
    </dgm:pt>
    <dgm:pt modelId="{6D4F6CFE-717B-46CE-9876-7C904312C07F}" type="parTrans" cxnId="{56B06ACF-81EE-47CE-909C-8309BA40628F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57454D4F-3791-4ABF-A2BC-076FD55B9CF3}" type="sibTrans" cxnId="{56B06ACF-81EE-47CE-909C-8309BA40628F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6ADA94F4-E964-464C-B81A-A5997DE1D7EE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Aug</a:t>
          </a:r>
          <a:endParaRPr lang="nb-NO" sz="1600">
            <a:solidFill>
              <a:schemeClr val="tx1"/>
            </a:solidFill>
          </a:endParaRPr>
        </a:p>
      </dgm:t>
    </dgm:pt>
    <dgm:pt modelId="{B8F8B226-D0E3-4D08-B384-255160124048}" type="parTrans" cxnId="{B2C53778-00A3-4ECB-B45E-D9A80FFF443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75DFA3E5-F7D5-4357-B890-DAE32F1ECAD2}" type="sibTrans" cxnId="{B2C53778-00A3-4ECB-B45E-D9A80FFF443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BE09310-B4AE-4B0A-A01F-157614B446AF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Sept</a:t>
          </a:r>
          <a:endParaRPr lang="nb-NO" sz="1600">
            <a:solidFill>
              <a:schemeClr val="tx1"/>
            </a:solidFill>
          </a:endParaRPr>
        </a:p>
      </dgm:t>
    </dgm:pt>
    <dgm:pt modelId="{58093D7E-E63E-4895-8BC2-606D5BC6CEFF}" type="parTrans" cxnId="{06E96791-C78B-4A04-B271-12030991727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DF7D30C-FA32-432A-953F-93CD0BF53FE5}" type="sibTrans" cxnId="{06E96791-C78B-4A04-B271-12030991727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59C00689-6E1F-4D4F-B61B-93E45C162884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Okt</a:t>
          </a:r>
          <a:endParaRPr lang="nb-NO" sz="1600">
            <a:solidFill>
              <a:schemeClr val="tx1"/>
            </a:solidFill>
          </a:endParaRPr>
        </a:p>
      </dgm:t>
    </dgm:pt>
    <dgm:pt modelId="{630BEF09-07F7-4558-A51F-C17A34876320}" type="parTrans" cxnId="{2575DBF3-3FAC-4B73-A1A1-483876B34AE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A7649572-3E4D-4ECA-ADCC-1D212F68A805}" type="sibTrans" cxnId="{2575DBF3-3FAC-4B73-A1A1-483876B34AE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12382D85-ACFD-490F-888C-2114F27C4BF7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Nov</a:t>
          </a:r>
        </a:p>
      </dgm:t>
    </dgm:pt>
    <dgm:pt modelId="{A7AB244B-E027-42E7-B6E3-5D858C1419CA}" type="parTrans" cxnId="{3A57C3D0-2FDA-4BF1-89DB-CD5741083A75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922AC5B-B516-4927-B774-10F116070995}" type="sibTrans" cxnId="{3A57C3D0-2FDA-4BF1-89DB-CD5741083A75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8EC9E499-5048-4496-9520-D91A43C8118D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Des</a:t>
          </a:r>
        </a:p>
      </dgm:t>
    </dgm:pt>
    <dgm:pt modelId="{E076673E-F3DE-4CFA-A9E3-4364A71E63AB}" type="parTrans" cxnId="{4B114B18-FFCC-4E34-BC14-A8A8466BF32B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36EEDC4-3639-4C95-9876-E0FE934E62ED}" type="sibTrans" cxnId="{4B114B18-FFCC-4E34-BC14-A8A8466BF32B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1BBE3D0C-6B6F-4B3A-A712-A00526757103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Jan</a:t>
          </a:r>
        </a:p>
      </dgm:t>
    </dgm:pt>
    <dgm:pt modelId="{8CA4EF54-DC83-45BA-BB4F-43A94C1BA681}" type="parTrans" cxnId="{A585E6BB-D089-4675-89FE-67D979360D74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AC54404-968E-47F7-A61A-1DA0B1A42840}" type="sibTrans" cxnId="{A585E6BB-D089-4675-89FE-67D979360D74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7C767CE-B71D-44DD-9F07-1172A1A708BB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Feb</a:t>
          </a:r>
          <a:endParaRPr lang="nb-NO" sz="1600">
            <a:solidFill>
              <a:schemeClr val="tx1"/>
            </a:solidFill>
          </a:endParaRPr>
        </a:p>
      </dgm:t>
    </dgm:pt>
    <dgm:pt modelId="{12F37BFB-21C4-4647-BE4A-FB4ADB1A7835}" type="parTrans" cxnId="{48224370-A21D-4159-8E3D-3AA4A5230E72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0DF525DA-6D96-4524-BFE8-E8A7C9CA5F2C}" type="sibTrans" cxnId="{48224370-A21D-4159-8E3D-3AA4A5230E72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EEF8DC9F-A7A5-4737-B6D7-71E40C66DD58}" type="pres">
      <dgm:prSet presAssocID="{FC295B7D-F857-4701-B417-8CA96F6BFFDD}" presName="Name0" presStyleCnt="0">
        <dgm:presLayoutVars>
          <dgm:dir/>
          <dgm:resizeHandles val="exact"/>
        </dgm:presLayoutVars>
      </dgm:prSet>
      <dgm:spPr/>
    </dgm:pt>
    <dgm:pt modelId="{1CA2016E-9240-4939-AC74-35F63662D3AC}" type="pres">
      <dgm:prSet presAssocID="{A53DFD9A-4278-42D6-A32D-23B9914C2737}" presName="parTxOnly" presStyleLbl="node1" presStyleIdx="0" presStyleCnt="14" custScaleY="72955">
        <dgm:presLayoutVars>
          <dgm:bulletEnabled val="1"/>
        </dgm:presLayoutVars>
      </dgm:prSet>
      <dgm:spPr/>
    </dgm:pt>
    <dgm:pt modelId="{7E86FA99-36AC-4EDE-8AA2-3C83B26A6D7D}" type="pres">
      <dgm:prSet presAssocID="{F913E39C-95FC-4BA4-ACCA-4E5091F2C97B}" presName="parSpace" presStyleCnt="0"/>
      <dgm:spPr/>
    </dgm:pt>
    <dgm:pt modelId="{8B79A64D-9D22-4A79-A270-B7ADD22155D2}" type="pres">
      <dgm:prSet presAssocID="{63EB9005-20D6-42A4-8C4A-7C18913D6523}" presName="parTxOnly" presStyleLbl="node1" presStyleIdx="1" presStyleCnt="14" custScaleY="72955">
        <dgm:presLayoutVars>
          <dgm:bulletEnabled val="1"/>
        </dgm:presLayoutVars>
      </dgm:prSet>
      <dgm:spPr/>
    </dgm:pt>
    <dgm:pt modelId="{67F152AC-FF39-4A5D-908E-235C1FA0FE5A}" type="pres">
      <dgm:prSet presAssocID="{93C1E42E-ED5E-4F1D-A7CD-F9740C80DF3F}" presName="parSpace" presStyleCnt="0"/>
      <dgm:spPr/>
    </dgm:pt>
    <dgm:pt modelId="{094020EB-3143-4343-84FC-A8D8663415FA}" type="pres">
      <dgm:prSet presAssocID="{8CE7B1C9-0BD2-4462-B32D-4D31702C3E76}" presName="parTxOnly" presStyleLbl="node1" presStyleIdx="2" presStyleCnt="14" custScaleY="72955">
        <dgm:presLayoutVars>
          <dgm:bulletEnabled val="1"/>
        </dgm:presLayoutVars>
      </dgm:prSet>
      <dgm:spPr/>
    </dgm:pt>
    <dgm:pt modelId="{2F21F380-3DEB-49B9-802E-D96C60D6DEC0}" type="pres">
      <dgm:prSet presAssocID="{B1939085-C2EE-49FB-A072-89E3A38B12AF}" presName="parSpace" presStyleCnt="0"/>
      <dgm:spPr/>
    </dgm:pt>
    <dgm:pt modelId="{ECD0462F-FC86-43EC-9EE1-F98A4E3685E5}" type="pres">
      <dgm:prSet presAssocID="{0D86B1FE-AC4F-4FD1-AA3C-F1D7B07E3891}" presName="parTxOnly" presStyleLbl="node1" presStyleIdx="3" presStyleCnt="14" custScaleY="72955">
        <dgm:presLayoutVars>
          <dgm:bulletEnabled val="1"/>
        </dgm:presLayoutVars>
      </dgm:prSet>
      <dgm:spPr/>
    </dgm:pt>
    <dgm:pt modelId="{14C6B0AC-EAE3-41F4-A78F-8BCEF6B2062C}" type="pres">
      <dgm:prSet presAssocID="{D0EB1B8E-3D62-436B-81AE-22CFF478D2F7}" presName="parSpace" presStyleCnt="0"/>
      <dgm:spPr/>
    </dgm:pt>
    <dgm:pt modelId="{D851844B-5F9B-474F-BF45-9F1571037C6B}" type="pres">
      <dgm:prSet presAssocID="{97DD039A-6E5A-40AF-8817-8BECD499E1D2}" presName="parTxOnly" presStyleLbl="node1" presStyleIdx="4" presStyleCnt="14" custScaleY="72955">
        <dgm:presLayoutVars>
          <dgm:bulletEnabled val="1"/>
        </dgm:presLayoutVars>
      </dgm:prSet>
      <dgm:spPr/>
    </dgm:pt>
    <dgm:pt modelId="{D6B97D54-86A1-4294-8AE2-BB16CFC89823}" type="pres">
      <dgm:prSet presAssocID="{3E85B2B3-1759-4FE0-91CD-CCF04ACFDEA0}" presName="parSpace" presStyleCnt="0"/>
      <dgm:spPr/>
    </dgm:pt>
    <dgm:pt modelId="{21EE003F-A6AE-47D0-8F30-7E500E2B43C5}" type="pres">
      <dgm:prSet presAssocID="{C4109414-31C0-4083-AFBC-0DA7D9E02CA5}" presName="parTxOnly" presStyleLbl="node1" presStyleIdx="5" presStyleCnt="14" custScaleY="72955">
        <dgm:presLayoutVars>
          <dgm:bulletEnabled val="1"/>
        </dgm:presLayoutVars>
      </dgm:prSet>
      <dgm:spPr/>
    </dgm:pt>
    <dgm:pt modelId="{73780782-3044-4E1D-80A1-2A421F143FCB}" type="pres">
      <dgm:prSet presAssocID="{D57F9888-59DD-4B8B-8001-885D841C0BC9}" presName="parSpace" presStyleCnt="0"/>
      <dgm:spPr/>
    </dgm:pt>
    <dgm:pt modelId="{6B98CBCD-E89E-4180-8377-1128BB900E75}" type="pres">
      <dgm:prSet presAssocID="{B901B503-3290-41FB-B3F8-0B587FC33E3B}" presName="parTxOnly" presStyleLbl="node1" presStyleIdx="6" presStyleCnt="14" custScaleY="72955">
        <dgm:presLayoutVars>
          <dgm:bulletEnabled val="1"/>
        </dgm:presLayoutVars>
      </dgm:prSet>
      <dgm:spPr/>
    </dgm:pt>
    <dgm:pt modelId="{7532E259-5AF4-4BE9-8827-7DA286DF1CEB}" type="pres">
      <dgm:prSet presAssocID="{57454D4F-3791-4ABF-A2BC-076FD55B9CF3}" presName="parSpace" presStyleCnt="0"/>
      <dgm:spPr/>
    </dgm:pt>
    <dgm:pt modelId="{AF814335-286D-4A63-9B4D-2D3466461DDB}" type="pres">
      <dgm:prSet presAssocID="{6ADA94F4-E964-464C-B81A-A5997DE1D7EE}" presName="parTxOnly" presStyleLbl="node1" presStyleIdx="7" presStyleCnt="14" custScaleY="72955">
        <dgm:presLayoutVars>
          <dgm:bulletEnabled val="1"/>
        </dgm:presLayoutVars>
      </dgm:prSet>
      <dgm:spPr/>
    </dgm:pt>
    <dgm:pt modelId="{9E772E0C-A598-4235-BC54-43B82487BE6B}" type="pres">
      <dgm:prSet presAssocID="{75DFA3E5-F7D5-4357-B890-DAE32F1ECAD2}" presName="parSpace" presStyleCnt="0"/>
      <dgm:spPr/>
    </dgm:pt>
    <dgm:pt modelId="{A10BF886-FB56-4505-A18A-A6E570242149}" type="pres">
      <dgm:prSet presAssocID="{BBE09310-B4AE-4B0A-A01F-157614B446AF}" presName="parTxOnly" presStyleLbl="node1" presStyleIdx="8" presStyleCnt="14" custScaleY="72955">
        <dgm:presLayoutVars>
          <dgm:bulletEnabled val="1"/>
        </dgm:presLayoutVars>
      </dgm:prSet>
      <dgm:spPr/>
    </dgm:pt>
    <dgm:pt modelId="{B1B1D131-C83B-45DF-87BB-551769A4FBC2}" type="pres">
      <dgm:prSet presAssocID="{CDF7D30C-FA32-432A-953F-93CD0BF53FE5}" presName="parSpace" presStyleCnt="0"/>
      <dgm:spPr/>
    </dgm:pt>
    <dgm:pt modelId="{395877A3-2998-45B1-8766-D05006EF8E29}" type="pres">
      <dgm:prSet presAssocID="{59C00689-6E1F-4D4F-B61B-93E45C162884}" presName="parTxOnly" presStyleLbl="node1" presStyleIdx="9" presStyleCnt="14" custScaleY="72955">
        <dgm:presLayoutVars>
          <dgm:bulletEnabled val="1"/>
        </dgm:presLayoutVars>
      </dgm:prSet>
      <dgm:spPr/>
    </dgm:pt>
    <dgm:pt modelId="{E51B4D1F-BE70-4027-A953-1181740A4BB8}" type="pres">
      <dgm:prSet presAssocID="{A7649572-3E4D-4ECA-ADCC-1D212F68A805}" presName="parSpace" presStyleCnt="0"/>
      <dgm:spPr/>
    </dgm:pt>
    <dgm:pt modelId="{A379D365-20DF-4073-A1AB-BA299F9B590E}" type="pres">
      <dgm:prSet presAssocID="{12382D85-ACFD-490F-888C-2114F27C4BF7}" presName="parTxOnly" presStyleLbl="node1" presStyleIdx="10" presStyleCnt="14" custScaleY="72955">
        <dgm:presLayoutVars>
          <dgm:bulletEnabled val="1"/>
        </dgm:presLayoutVars>
      </dgm:prSet>
      <dgm:spPr/>
    </dgm:pt>
    <dgm:pt modelId="{90BD7D04-31E3-477D-8AA8-26AD80BB62E0}" type="pres">
      <dgm:prSet presAssocID="{9922AC5B-B516-4927-B774-10F116070995}" presName="parSpace" presStyleCnt="0"/>
      <dgm:spPr/>
    </dgm:pt>
    <dgm:pt modelId="{3ED65369-217E-4D49-9F64-4471C6F48357}" type="pres">
      <dgm:prSet presAssocID="{8EC9E499-5048-4496-9520-D91A43C8118D}" presName="parTxOnly" presStyleLbl="node1" presStyleIdx="11" presStyleCnt="14" custScaleY="72955">
        <dgm:presLayoutVars>
          <dgm:bulletEnabled val="1"/>
        </dgm:presLayoutVars>
      </dgm:prSet>
      <dgm:spPr/>
    </dgm:pt>
    <dgm:pt modelId="{1E8306B6-1370-4444-B39B-692DFBDC6CFD}" type="pres">
      <dgm:prSet presAssocID="{B36EEDC4-3639-4C95-9876-E0FE934E62ED}" presName="parSpace" presStyleCnt="0"/>
      <dgm:spPr/>
    </dgm:pt>
    <dgm:pt modelId="{2D49D640-C7D1-4468-B187-B2874A901B0B}" type="pres">
      <dgm:prSet presAssocID="{1BBE3D0C-6B6F-4B3A-A712-A00526757103}" presName="parTxOnly" presStyleLbl="node1" presStyleIdx="12" presStyleCnt="14" custScaleY="72955">
        <dgm:presLayoutVars>
          <dgm:bulletEnabled val="1"/>
        </dgm:presLayoutVars>
      </dgm:prSet>
      <dgm:spPr/>
    </dgm:pt>
    <dgm:pt modelId="{BB666EE6-0491-4B9A-A011-5CC94620A38F}" type="pres">
      <dgm:prSet presAssocID="{CAC54404-968E-47F7-A61A-1DA0B1A42840}" presName="parSpace" presStyleCnt="0"/>
      <dgm:spPr/>
    </dgm:pt>
    <dgm:pt modelId="{FF492FC4-140E-4C27-B8F3-3E7AF3B20685}" type="pres">
      <dgm:prSet presAssocID="{C7C767CE-B71D-44DD-9F07-1172A1A708BB}" presName="parTxOnly" presStyleLbl="node1" presStyleIdx="13" presStyleCnt="14" custScaleY="72955">
        <dgm:presLayoutVars>
          <dgm:bulletEnabled val="1"/>
        </dgm:presLayoutVars>
      </dgm:prSet>
      <dgm:spPr/>
    </dgm:pt>
  </dgm:ptLst>
  <dgm:cxnLst>
    <dgm:cxn modelId="{FED5B103-1C66-4321-A002-4F6D451F46E1}" type="presOf" srcId="{97DD039A-6E5A-40AF-8817-8BECD499E1D2}" destId="{D851844B-5F9B-474F-BF45-9F1571037C6B}" srcOrd="0" destOrd="0" presId="urn:microsoft.com/office/officeart/2005/8/layout/hChevron3"/>
    <dgm:cxn modelId="{FDB73E04-4643-4051-B61F-32206937C126}" type="presOf" srcId="{1BBE3D0C-6B6F-4B3A-A712-A00526757103}" destId="{2D49D640-C7D1-4468-B187-B2874A901B0B}" srcOrd="0" destOrd="0" presId="urn:microsoft.com/office/officeart/2005/8/layout/hChevron3"/>
    <dgm:cxn modelId="{CF3A7C11-1D1F-4917-8C1E-F7A6905A066D}" srcId="{FC295B7D-F857-4701-B417-8CA96F6BFFDD}" destId="{0D86B1FE-AC4F-4FD1-AA3C-F1D7B07E3891}" srcOrd="3" destOrd="0" parTransId="{9786C803-8CC5-49F3-B443-4FD751F8C0F2}" sibTransId="{D0EB1B8E-3D62-436B-81AE-22CFF478D2F7}"/>
    <dgm:cxn modelId="{4B114B18-FFCC-4E34-BC14-A8A8466BF32B}" srcId="{FC295B7D-F857-4701-B417-8CA96F6BFFDD}" destId="{8EC9E499-5048-4496-9520-D91A43C8118D}" srcOrd="11" destOrd="0" parTransId="{E076673E-F3DE-4CFA-A9E3-4364A71E63AB}" sibTransId="{B36EEDC4-3639-4C95-9876-E0FE934E62ED}"/>
    <dgm:cxn modelId="{B0D30623-49E5-4E75-BDEE-C8BF368B313C}" type="presOf" srcId="{FC295B7D-F857-4701-B417-8CA96F6BFFDD}" destId="{EEF8DC9F-A7A5-4737-B6D7-71E40C66DD58}" srcOrd="0" destOrd="0" presId="urn:microsoft.com/office/officeart/2005/8/layout/hChevron3"/>
    <dgm:cxn modelId="{CF24E739-EC0D-440F-A384-F98ECBC87BE3}" srcId="{FC295B7D-F857-4701-B417-8CA96F6BFFDD}" destId="{97DD039A-6E5A-40AF-8817-8BECD499E1D2}" srcOrd="4" destOrd="0" parTransId="{2DE9AB6D-5608-41E5-8EE2-B72BA286AE64}" sibTransId="{3E85B2B3-1759-4FE0-91CD-CCF04ACFDEA0}"/>
    <dgm:cxn modelId="{9568A93D-94F9-4966-83A3-C88683C6E04D}" srcId="{FC295B7D-F857-4701-B417-8CA96F6BFFDD}" destId="{A53DFD9A-4278-42D6-A32D-23B9914C2737}" srcOrd="0" destOrd="0" parTransId="{C30E3508-CF4C-4B17-87E1-A6BED450C84C}" sibTransId="{F913E39C-95FC-4BA4-ACCA-4E5091F2C97B}"/>
    <dgm:cxn modelId="{06509E40-E1EE-451C-BA75-8C2693C07295}" type="presOf" srcId="{59C00689-6E1F-4D4F-B61B-93E45C162884}" destId="{395877A3-2998-45B1-8766-D05006EF8E29}" srcOrd="0" destOrd="0" presId="urn:microsoft.com/office/officeart/2005/8/layout/hChevron3"/>
    <dgm:cxn modelId="{614B1048-AD29-4587-A462-527E202C49A3}" type="presOf" srcId="{8CE7B1C9-0BD2-4462-B32D-4D31702C3E76}" destId="{094020EB-3143-4343-84FC-A8D8663415FA}" srcOrd="0" destOrd="0" presId="urn:microsoft.com/office/officeart/2005/8/layout/hChevron3"/>
    <dgm:cxn modelId="{0B37EC69-6685-4A2E-B930-CE41DCF5CB7B}" type="presOf" srcId="{0D86B1FE-AC4F-4FD1-AA3C-F1D7B07E3891}" destId="{ECD0462F-FC86-43EC-9EE1-F98A4E3685E5}" srcOrd="0" destOrd="0" presId="urn:microsoft.com/office/officeart/2005/8/layout/hChevron3"/>
    <dgm:cxn modelId="{48224370-A21D-4159-8E3D-3AA4A5230E72}" srcId="{FC295B7D-F857-4701-B417-8CA96F6BFFDD}" destId="{C7C767CE-B71D-44DD-9F07-1172A1A708BB}" srcOrd="13" destOrd="0" parTransId="{12F37BFB-21C4-4647-BE4A-FB4ADB1A7835}" sibTransId="{0DF525DA-6D96-4524-BFE8-E8A7C9CA5F2C}"/>
    <dgm:cxn modelId="{7CBD5952-274C-45EF-8FAF-9CBC6A0E51D6}" type="presOf" srcId="{A53DFD9A-4278-42D6-A32D-23B9914C2737}" destId="{1CA2016E-9240-4939-AC74-35F63662D3AC}" srcOrd="0" destOrd="0" presId="urn:microsoft.com/office/officeart/2005/8/layout/hChevron3"/>
    <dgm:cxn modelId="{B2C53778-00A3-4ECB-B45E-D9A80FFF4430}" srcId="{FC295B7D-F857-4701-B417-8CA96F6BFFDD}" destId="{6ADA94F4-E964-464C-B81A-A5997DE1D7EE}" srcOrd="7" destOrd="0" parTransId="{B8F8B226-D0E3-4D08-B384-255160124048}" sibTransId="{75DFA3E5-F7D5-4357-B890-DAE32F1ECAD2}"/>
    <dgm:cxn modelId="{755D1F8B-CC6E-4B2E-8499-00ED7E1B81E1}" type="presOf" srcId="{C4109414-31C0-4083-AFBC-0DA7D9E02CA5}" destId="{21EE003F-A6AE-47D0-8F30-7E500E2B43C5}" srcOrd="0" destOrd="0" presId="urn:microsoft.com/office/officeart/2005/8/layout/hChevron3"/>
    <dgm:cxn modelId="{06E96791-C78B-4A04-B271-120309917277}" srcId="{FC295B7D-F857-4701-B417-8CA96F6BFFDD}" destId="{BBE09310-B4AE-4B0A-A01F-157614B446AF}" srcOrd="8" destOrd="0" parTransId="{58093D7E-E63E-4895-8BC2-606D5BC6CEFF}" sibTransId="{CDF7D30C-FA32-432A-953F-93CD0BF53FE5}"/>
    <dgm:cxn modelId="{05DF6F9B-635A-466C-A3E4-29E6C351B3A5}" type="presOf" srcId="{6ADA94F4-E964-464C-B81A-A5997DE1D7EE}" destId="{AF814335-286D-4A63-9B4D-2D3466461DDB}" srcOrd="0" destOrd="0" presId="urn:microsoft.com/office/officeart/2005/8/layout/hChevron3"/>
    <dgm:cxn modelId="{05F482A7-E4D3-4CE5-BBB0-FEBDDA1A0715}" type="presOf" srcId="{8EC9E499-5048-4496-9520-D91A43C8118D}" destId="{3ED65369-217E-4D49-9F64-4471C6F48357}" srcOrd="0" destOrd="0" presId="urn:microsoft.com/office/officeart/2005/8/layout/hChevron3"/>
    <dgm:cxn modelId="{E8394DAF-9D12-4B0A-896C-47AF58C463CD}" srcId="{FC295B7D-F857-4701-B417-8CA96F6BFFDD}" destId="{63EB9005-20D6-42A4-8C4A-7C18913D6523}" srcOrd="1" destOrd="0" parTransId="{25DDDD1A-08A4-409F-999B-57C5FB8AB6CB}" sibTransId="{93C1E42E-ED5E-4F1D-A7CD-F9740C80DF3F}"/>
    <dgm:cxn modelId="{61989EB0-1C4B-4BDD-B79D-B201D4A1D2E4}" type="presOf" srcId="{63EB9005-20D6-42A4-8C4A-7C18913D6523}" destId="{8B79A64D-9D22-4A79-A270-B7ADD22155D2}" srcOrd="0" destOrd="0" presId="urn:microsoft.com/office/officeart/2005/8/layout/hChevron3"/>
    <dgm:cxn modelId="{6B7121B2-1FEC-4832-A47B-0A99E724AC73}" type="presOf" srcId="{BBE09310-B4AE-4B0A-A01F-157614B446AF}" destId="{A10BF886-FB56-4505-A18A-A6E570242149}" srcOrd="0" destOrd="0" presId="urn:microsoft.com/office/officeart/2005/8/layout/hChevron3"/>
    <dgm:cxn modelId="{A585E6BB-D089-4675-89FE-67D979360D74}" srcId="{FC295B7D-F857-4701-B417-8CA96F6BFFDD}" destId="{1BBE3D0C-6B6F-4B3A-A712-A00526757103}" srcOrd="12" destOrd="0" parTransId="{8CA4EF54-DC83-45BA-BB4F-43A94C1BA681}" sibTransId="{CAC54404-968E-47F7-A61A-1DA0B1A42840}"/>
    <dgm:cxn modelId="{08293CC0-CF60-46A6-9A8B-B99354DEC368}" srcId="{FC295B7D-F857-4701-B417-8CA96F6BFFDD}" destId="{8CE7B1C9-0BD2-4462-B32D-4D31702C3E76}" srcOrd="2" destOrd="0" parTransId="{2AC01C37-0939-40DE-8923-1C6C6C2610E7}" sibTransId="{B1939085-C2EE-49FB-A072-89E3A38B12AF}"/>
    <dgm:cxn modelId="{15F2F4C3-F0C7-4093-8B53-BC515EE11E5A}" type="presOf" srcId="{12382D85-ACFD-490F-888C-2114F27C4BF7}" destId="{A379D365-20DF-4073-A1AB-BA299F9B590E}" srcOrd="0" destOrd="0" presId="urn:microsoft.com/office/officeart/2005/8/layout/hChevron3"/>
    <dgm:cxn modelId="{091C0BCA-7C60-424B-BAAF-6E61323AF5C6}" type="presOf" srcId="{C7C767CE-B71D-44DD-9F07-1172A1A708BB}" destId="{FF492FC4-140E-4C27-B8F3-3E7AF3B20685}" srcOrd="0" destOrd="0" presId="urn:microsoft.com/office/officeart/2005/8/layout/hChevron3"/>
    <dgm:cxn modelId="{56B06ACF-81EE-47CE-909C-8309BA40628F}" srcId="{FC295B7D-F857-4701-B417-8CA96F6BFFDD}" destId="{B901B503-3290-41FB-B3F8-0B587FC33E3B}" srcOrd="6" destOrd="0" parTransId="{6D4F6CFE-717B-46CE-9876-7C904312C07F}" sibTransId="{57454D4F-3791-4ABF-A2BC-076FD55B9CF3}"/>
    <dgm:cxn modelId="{3A57C3D0-2FDA-4BF1-89DB-CD5741083A75}" srcId="{FC295B7D-F857-4701-B417-8CA96F6BFFDD}" destId="{12382D85-ACFD-490F-888C-2114F27C4BF7}" srcOrd="10" destOrd="0" parTransId="{A7AB244B-E027-42E7-B6E3-5D858C1419CA}" sibTransId="{9922AC5B-B516-4927-B774-10F116070995}"/>
    <dgm:cxn modelId="{60D978E0-411C-498F-B2BF-ED02726DC0B0}" type="presOf" srcId="{B901B503-3290-41FB-B3F8-0B587FC33E3B}" destId="{6B98CBCD-E89E-4180-8377-1128BB900E75}" srcOrd="0" destOrd="0" presId="urn:microsoft.com/office/officeart/2005/8/layout/hChevron3"/>
    <dgm:cxn modelId="{6668B6E7-1C13-4DC7-A4D8-4E774C5F79A0}" srcId="{FC295B7D-F857-4701-B417-8CA96F6BFFDD}" destId="{C4109414-31C0-4083-AFBC-0DA7D9E02CA5}" srcOrd="5" destOrd="0" parTransId="{306C2B99-300B-44C4-B366-86CC00129EE1}" sibTransId="{D57F9888-59DD-4B8B-8001-885D841C0BC9}"/>
    <dgm:cxn modelId="{2575DBF3-3FAC-4B73-A1A1-483876B34AE7}" srcId="{FC295B7D-F857-4701-B417-8CA96F6BFFDD}" destId="{59C00689-6E1F-4D4F-B61B-93E45C162884}" srcOrd="9" destOrd="0" parTransId="{630BEF09-07F7-4558-A51F-C17A34876320}" sibTransId="{A7649572-3E4D-4ECA-ADCC-1D212F68A805}"/>
    <dgm:cxn modelId="{BBC2CD05-BE99-4BE9-8B50-CF4D28022165}" type="presParOf" srcId="{EEF8DC9F-A7A5-4737-B6D7-71E40C66DD58}" destId="{1CA2016E-9240-4939-AC74-35F63662D3AC}" srcOrd="0" destOrd="0" presId="urn:microsoft.com/office/officeart/2005/8/layout/hChevron3"/>
    <dgm:cxn modelId="{F0203C37-E732-442F-AE19-E7F361B3A063}" type="presParOf" srcId="{EEF8DC9F-A7A5-4737-B6D7-71E40C66DD58}" destId="{7E86FA99-36AC-4EDE-8AA2-3C83B26A6D7D}" srcOrd="1" destOrd="0" presId="urn:microsoft.com/office/officeart/2005/8/layout/hChevron3"/>
    <dgm:cxn modelId="{51AD80D2-26AE-48FE-B3CE-1AF68A632878}" type="presParOf" srcId="{EEF8DC9F-A7A5-4737-B6D7-71E40C66DD58}" destId="{8B79A64D-9D22-4A79-A270-B7ADD22155D2}" srcOrd="2" destOrd="0" presId="urn:microsoft.com/office/officeart/2005/8/layout/hChevron3"/>
    <dgm:cxn modelId="{0E323538-6FB8-4338-A254-7DB778198979}" type="presParOf" srcId="{EEF8DC9F-A7A5-4737-B6D7-71E40C66DD58}" destId="{67F152AC-FF39-4A5D-908E-235C1FA0FE5A}" srcOrd="3" destOrd="0" presId="urn:microsoft.com/office/officeart/2005/8/layout/hChevron3"/>
    <dgm:cxn modelId="{CF604A35-25CE-41AE-8BBA-97D3100B12EB}" type="presParOf" srcId="{EEF8DC9F-A7A5-4737-B6D7-71E40C66DD58}" destId="{094020EB-3143-4343-84FC-A8D8663415FA}" srcOrd="4" destOrd="0" presId="urn:microsoft.com/office/officeart/2005/8/layout/hChevron3"/>
    <dgm:cxn modelId="{3691FD85-63F1-4177-A9A0-8F041A8F7F42}" type="presParOf" srcId="{EEF8DC9F-A7A5-4737-B6D7-71E40C66DD58}" destId="{2F21F380-3DEB-49B9-802E-D96C60D6DEC0}" srcOrd="5" destOrd="0" presId="urn:microsoft.com/office/officeart/2005/8/layout/hChevron3"/>
    <dgm:cxn modelId="{B825CE78-984A-4825-A9BC-67B4FC7FEDB7}" type="presParOf" srcId="{EEF8DC9F-A7A5-4737-B6D7-71E40C66DD58}" destId="{ECD0462F-FC86-43EC-9EE1-F98A4E3685E5}" srcOrd="6" destOrd="0" presId="urn:microsoft.com/office/officeart/2005/8/layout/hChevron3"/>
    <dgm:cxn modelId="{F0DEBCFF-B2C1-45D7-AE29-A6FEA349086B}" type="presParOf" srcId="{EEF8DC9F-A7A5-4737-B6D7-71E40C66DD58}" destId="{14C6B0AC-EAE3-41F4-A78F-8BCEF6B2062C}" srcOrd="7" destOrd="0" presId="urn:microsoft.com/office/officeart/2005/8/layout/hChevron3"/>
    <dgm:cxn modelId="{4F0B3AAF-122E-40B1-91AC-C866E6A33E0F}" type="presParOf" srcId="{EEF8DC9F-A7A5-4737-B6D7-71E40C66DD58}" destId="{D851844B-5F9B-474F-BF45-9F1571037C6B}" srcOrd="8" destOrd="0" presId="urn:microsoft.com/office/officeart/2005/8/layout/hChevron3"/>
    <dgm:cxn modelId="{7762C01C-8888-4205-940A-3890AEBAAD5A}" type="presParOf" srcId="{EEF8DC9F-A7A5-4737-B6D7-71E40C66DD58}" destId="{D6B97D54-86A1-4294-8AE2-BB16CFC89823}" srcOrd="9" destOrd="0" presId="urn:microsoft.com/office/officeart/2005/8/layout/hChevron3"/>
    <dgm:cxn modelId="{181D047A-7024-499E-8939-C89A8C16FF42}" type="presParOf" srcId="{EEF8DC9F-A7A5-4737-B6D7-71E40C66DD58}" destId="{21EE003F-A6AE-47D0-8F30-7E500E2B43C5}" srcOrd="10" destOrd="0" presId="urn:microsoft.com/office/officeart/2005/8/layout/hChevron3"/>
    <dgm:cxn modelId="{461D789A-B67E-46C0-B193-ED47E8316F31}" type="presParOf" srcId="{EEF8DC9F-A7A5-4737-B6D7-71E40C66DD58}" destId="{73780782-3044-4E1D-80A1-2A421F143FCB}" srcOrd="11" destOrd="0" presId="urn:microsoft.com/office/officeart/2005/8/layout/hChevron3"/>
    <dgm:cxn modelId="{C6BAF284-5307-41D5-A599-44957CD732B2}" type="presParOf" srcId="{EEF8DC9F-A7A5-4737-B6D7-71E40C66DD58}" destId="{6B98CBCD-E89E-4180-8377-1128BB900E75}" srcOrd="12" destOrd="0" presId="urn:microsoft.com/office/officeart/2005/8/layout/hChevron3"/>
    <dgm:cxn modelId="{352AE785-5171-4D3E-B6EF-3B22D2E2077E}" type="presParOf" srcId="{EEF8DC9F-A7A5-4737-B6D7-71E40C66DD58}" destId="{7532E259-5AF4-4BE9-8827-7DA286DF1CEB}" srcOrd="13" destOrd="0" presId="urn:microsoft.com/office/officeart/2005/8/layout/hChevron3"/>
    <dgm:cxn modelId="{10BA4780-6A9F-43FE-AF11-C848BCE0CC18}" type="presParOf" srcId="{EEF8DC9F-A7A5-4737-B6D7-71E40C66DD58}" destId="{AF814335-286D-4A63-9B4D-2D3466461DDB}" srcOrd="14" destOrd="0" presId="urn:microsoft.com/office/officeart/2005/8/layout/hChevron3"/>
    <dgm:cxn modelId="{D8EEA65A-A9AC-470F-8D3C-84D61D64504F}" type="presParOf" srcId="{EEF8DC9F-A7A5-4737-B6D7-71E40C66DD58}" destId="{9E772E0C-A598-4235-BC54-43B82487BE6B}" srcOrd="15" destOrd="0" presId="urn:microsoft.com/office/officeart/2005/8/layout/hChevron3"/>
    <dgm:cxn modelId="{2306827D-8A75-4C05-81CC-927CC5421D63}" type="presParOf" srcId="{EEF8DC9F-A7A5-4737-B6D7-71E40C66DD58}" destId="{A10BF886-FB56-4505-A18A-A6E570242149}" srcOrd="16" destOrd="0" presId="urn:microsoft.com/office/officeart/2005/8/layout/hChevron3"/>
    <dgm:cxn modelId="{8AC25B6D-A7AB-416B-934D-145C5A954D36}" type="presParOf" srcId="{EEF8DC9F-A7A5-4737-B6D7-71E40C66DD58}" destId="{B1B1D131-C83B-45DF-87BB-551769A4FBC2}" srcOrd="17" destOrd="0" presId="urn:microsoft.com/office/officeart/2005/8/layout/hChevron3"/>
    <dgm:cxn modelId="{45D29DDD-7576-4BF9-AA58-8D20A4231A26}" type="presParOf" srcId="{EEF8DC9F-A7A5-4737-B6D7-71E40C66DD58}" destId="{395877A3-2998-45B1-8766-D05006EF8E29}" srcOrd="18" destOrd="0" presId="urn:microsoft.com/office/officeart/2005/8/layout/hChevron3"/>
    <dgm:cxn modelId="{59D46CB9-123C-4B81-B0E3-37C9110DED65}" type="presParOf" srcId="{EEF8DC9F-A7A5-4737-B6D7-71E40C66DD58}" destId="{E51B4D1F-BE70-4027-A953-1181740A4BB8}" srcOrd="19" destOrd="0" presId="urn:microsoft.com/office/officeart/2005/8/layout/hChevron3"/>
    <dgm:cxn modelId="{16C2B860-76BD-4DAE-A2A2-8E257EB4D8BF}" type="presParOf" srcId="{EEF8DC9F-A7A5-4737-B6D7-71E40C66DD58}" destId="{A379D365-20DF-4073-A1AB-BA299F9B590E}" srcOrd="20" destOrd="0" presId="urn:microsoft.com/office/officeart/2005/8/layout/hChevron3"/>
    <dgm:cxn modelId="{DDE2C823-8978-4656-ACB5-1317E77F2F6D}" type="presParOf" srcId="{EEF8DC9F-A7A5-4737-B6D7-71E40C66DD58}" destId="{90BD7D04-31E3-477D-8AA8-26AD80BB62E0}" srcOrd="21" destOrd="0" presId="urn:microsoft.com/office/officeart/2005/8/layout/hChevron3"/>
    <dgm:cxn modelId="{F5824407-8719-47CE-91EF-DE0227EDDB67}" type="presParOf" srcId="{EEF8DC9F-A7A5-4737-B6D7-71E40C66DD58}" destId="{3ED65369-217E-4D49-9F64-4471C6F48357}" srcOrd="22" destOrd="0" presId="urn:microsoft.com/office/officeart/2005/8/layout/hChevron3"/>
    <dgm:cxn modelId="{338838B8-546A-42B9-9C18-CD34E31DC45C}" type="presParOf" srcId="{EEF8DC9F-A7A5-4737-B6D7-71E40C66DD58}" destId="{1E8306B6-1370-4444-B39B-692DFBDC6CFD}" srcOrd="23" destOrd="0" presId="urn:microsoft.com/office/officeart/2005/8/layout/hChevron3"/>
    <dgm:cxn modelId="{023BBC86-6F0B-428E-A7B9-E7A266696288}" type="presParOf" srcId="{EEF8DC9F-A7A5-4737-B6D7-71E40C66DD58}" destId="{2D49D640-C7D1-4468-B187-B2874A901B0B}" srcOrd="24" destOrd="0" presId="urn:microsoft.com/office/officeart/2005/8/layout/hChevron3"/>
    <dgm:cxn modelId="{9A79F27C-0D5C-463E-9C67-BC68518626B1}" type="presParOf" srcId="{EEF8DC9F-A7A5-4737-B6D7-71E40C66DD58}" destId="{BB666EE6-0491-4B9A-A011-5CC94620A38F}" srcOrd="25" destOrd="0" presId="urn:microsoft.com/office/officeart/2005/8/layout/hChevron3"/>
    <dgm:cxn modelId="{FA173660-D176-420D-95DA-9B24168CEBA5}" type="presParOf" srcId="{EEF8DC9F-A7A5-4737-B6D7-71E40C66DD58}" destId="{FF492FC4-140E-4C27-B8F3-3E7AF3B20685}" srcOrd="2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80E8242-65C8-42DE-A0AE-C919471D461B}" type="doc">
      <dgm:prSet loTypeId="urn:microsoft.com/office/officeart/2005/8/layout/chevron1" loCatId="process" qsTypeId="urn:microsoft.com/office/officeart/2005/8/quickstyle/simple1" qsCatId="simple" csTypeId="urn:microsoft.com/office/officeart/2005/8/colors/accent3_1" csCatId="accent3" phldr="1"/>
      <dgm:spPr/>
    </dgm:pt>
    <dgm:pt modelId="{BEDD61B1-22D0-4BFF-AE4B-4854FA3E80C9}">
      <dgm:prSet phldrT="[Text]" custT="1"/>
      <dgm:spPr>
        <a:solidFill>
          <a:srgbClr val="92D050"/>
        </a:solidFill>
        <a:ln>
          <a:solidFill>
            <a:schemeClr val="bg1"/>
          </a:solidFill>
        </a:ln>
      </dgm:spPr>
      <dgm:t>
        <a:bodyPr/>
        <a:lstStyle/>
        <a:p>
          <a:r>
            <a:rPr lang="nb-NO" sz="900" noProof="0"/>
            <a:t>Planlegge integrasjoner</a:t>
          </a:r>
        </a:p>
      </dgm:t>
    </dgm:pt>
    <dgm:pt modelId="{2A60E80D-6E9E-436C-A8EA-03346B4BD886}" type="parTrans" cxnId="{51E67AEC-8A21-4C42-8B0A-769FE04FF98C}">
      <dgm:prSet/>
      <dgm:spPr/>
      <dgm:t>
        <a:bodyPr/>
        <a:lstStyle/>
        <a:p>
          <a:endParaRPr lang="nb-NO" sz="2400"/>
        </a:p>
      </dgm:t>
    </dgm:pt>
    <dgm:pt modelId="{7D3CCF23-392C-4A4A-845A-1C34A97402EA}" type="sibTrans" cxnId="{51E67AEC-8A21-4C42-8B0A-769FE04FF98C}">
      <dgm:prSet/>
      <dgm:spPr/>
      <dgm:t>
        <a:bodyPr/>
        <a:lstStyle/>
        <a:p>
          <a:endParaRPr lang="nb-NO" sz="2400"/>
        </a:p>
      </dgm:t>
    </dgm:pt>
    <dgm:pt modelId="{8A03F8F1-C8F0-43B4-8011-4C5AF1C9D9E5}">
      <dgm:prSet phldrT="[Text]" custT="1"/>
      <dgm:spPr>
        <a:solidFill>
          <a:srgbClr val="92D050"/>
        </a:solidFill>
        <a:ln>
          <a:solidFill>
            <a:schemeClr val="bg1"/>
          </a:solidFill>
        </a:ln>
      </dgm:spPr>
      <dgm:t>
        <a:bodyPr/>
        <a:lstStyle/>
        <a:p>
          <a:r>
            <a:rPr lang="nb-NO" sz="900" noProof="0"/>
            <a:t>Remodellering DVH</a:t>
          </a:r>
        </a:p>
      </dgm:t>
    </dgm:pt>
    <dgm:pt modelId="{2689FBA7-15F9-4A5A-A11B-73D3F017C242}" type="parTrans" cxnId="{95568EF6-4557-4E0C-9B23-41B27DC48598}">
      <dgm:prSet/>
      <dgm:spPr/>
      <dgm:t>
        <a:bodyPr/>
        <a:lstStyle/>
        <a:p>
          <a:endParaRPr lang="nb-NO" sz="2400"/>
        </a:p>
      </dgm:t>
    </dgm:pt>
    <dgm:pt modelId="{14C0036C-4E46-4B9A-B7AC-73E1CBF1FCE3}" type="sibTrans" cxnId="{95568EF6-4557-4E0C-9B23-41B27DC48598}">
      <dgm:prSet/>
      <dgm:spPr/>
      <dgm:t>
        <a:bodyPr/>
        <a:lstStyle/>
        <a:p>
          <a:endParaRPr lang="nb-NO" sz="2400"/>
        </a:p>
      </dgm:t>
    </dgm:pt>
    <dgm:pt modelId="{88A2ADB9-7144-465A-B71E-8D8AF8244B44}">
      <dgm:prSet phldrT="[Text]" custT="1"/>
      <dgm:spPr>
        <a:solidFill>
          <a:srgbClr val="92D050"/>
        </a:solidFill>
        <a:ln>
          <a:solidFill>
            <a:schemeClr val="bg1"/>
          </a:solidFill>
        </a:ln>
      </dgm:spPr>
      <dgm:t>
        <a:bodyPr/>
        <a:lstStyle/>
        <a:p>
          <a:r>
            <a:rPr lang="nb-NO" sz="900" noProof="0"/>
            <a:t>Remodellering rapporter og moduler</a:t>
          </a:r>
        </a:p>
      </dgm:t>
    </dgm:pt>
    <dgm:pt modelId="{B351AC3C-C88A-4967-BF68-06800A9D0B5C}" type="parTrans" cxnId="{2D5FEE29-616F-4D05-83D7-725E9E524571}">
      <dgm:prSet/>
      <dgm:spPr/>
      <dgm:t>
        <a:bodyPr/>
        <a:lstStyle/>
        <a:p>
          <a:endParaRPr lang="nb-NO" sz="2400"/>
        </a:p>
      </dgm:t>
    </dgm:pt>
    <dgm:pt modelId="{8CBE2686-5787-4D9E-8FAC-2E4281DE40E0}" type="sibTrans" cxnId="{2D5FEE29-616F-4D05-83D7-725E9E524571}">
      <dgm:prSet/>
      <dgm:spPr/>
      <dgm:t>
        <a:bodyPr/>
        <a:lstStyle/>
        <a:p>
          <a:endParaRPr lang="nb-NO" sz="2400"/>
        </a:p>
      </dgm:t>
    </dgm:pt>
    <dgm:pt modelId="{586FC94F-A693-4C5A-BF57-B47072A10361}">
      <dgm:prSet phldrT="[Text]" custT="1"/>
      <dgm:spPr>
        <a:solidFill>
          <a:srgbClr val="92D050"/>
        </a:solidFill>
        <a:ln>
          <a:solidFill>
            <a:schemeClr val="bg1"/>
          </a:solidFill>
        </a:ln>
      </dgm:spPr>
      <dgm:t>
        <a:bodyPr/>
        <a:lstStyle/>
        <a:p>
          <a:r>
            <a:rPr lang="nb-NO" sz="900" noProof="0"/>
            <a:t>Remodellering rapporter og moduler</a:t>
          </a:r>
        </a:p>
      </dgm:t>
    </dgm:pt>
    <dgm:pt modelId="{B7520F78-4EA4-4B4B-AE46-40F554869357}" type="parTrans" cxnId="{947A77BB-8555-41FB-84CF-7345A7892A41}">
      <dgm:prSet/>
      <dgm:spPr/>
      <dgm:t>
        <a:bodyPr/>
        <a:lstStyle/>
        <a:p>
          <a:endParaRPr lang="nb-NO" sz="2400"/>
        </a:p>
      </dgm:t>
    </dgm:pt>
    <dgm:pt modelId="{FCE4DA86-DF50-44DC-BE01-1F566FF41BBF}" type="sibTrans" cxnId="{947A77BB-8555-41FB-84CF-7345A7892A41}">
      <dgm:prSet/>
      <dgm:spPr/>
      <dgm:t>
        <a:bodyPr/>
        <a:lstStyle/>
        <a:p>
          <a:endParaRPr lang="nb-NO" sz="2400"/>
        </a:p>
      </dgm:t>
    </dgm:pt>
    <dgm:pt modelId="{58D4579C-49FD-4909-BE6B-4AA0B0F5A596}">
      <dgm:prSet phldrT="[Text]" custT="1"/>
      <dgm:spPr>
        <a:solidFill>
          <a:srgbClr val="92D050"/>
        </a:solidFill>
        <a:ln>
          <a:solidFill>
            <a:schemeClr val="bg1"/>
          </a:solidFill>
        </a:ln>
      </dgm:spPr>
      <dgm:t>
        <a:bodyPr/>
        <a:lstStyle/>
        <a:p>
          <a:r>
            <a:rPr lang="nb-NO" sz="800" noProof="0"/>
            <a:t>Tilpassing testfirma DFØ og mapping gamle plandata inn i ny modell (prosjekt)</a:t>
          </a:r>
        </a:p>
      </dgm:t>
    </dgm:pt>
    <dgm:pt modelId="{771B7B1F-5D3F-4796-9F5E-17E42E9AE56C}" type="parTrans" cxnId="{96BA6B98-FC83-42F4-BEBD-D5090FAE1563}">
      <dgm:prSet/>
      <dgm:spPr/>
      <dgm:t>
        <a:bodyPr/>
        <a:lstStyle/>
        <a:p>
          <a:endParaRPr lang="nb-NO" sz="2400"/>
        </a:p>
      </dgm:t>
    </dgm:pt>
    <dgm:pt modelId="{ADDCE810-88D5-48F3-8FC8-98659D49FB26}" type="sibTrans" cxnId="{96BA6B98-FC83-42F4-BEBD-D5090FAE1563}">
      <dgm:prSet/>
      <dgm:spPr/>
      <dgm:t>
        <a:bodyPr/>
        <a:lstStyle/>
        <a:p>
          <a:endParaRPr lang="nb-NO" sz="2400"/>
        </a:p>
      </dgm:t>
    </dgm:pt>
    <dgm:pt modelId="{4FA82D31-EF66-4B44-9139-E1235050E3EB}">
      <dgm:prSet phldrT="[Text]" custT="1"/>
      <dgm:spPr>
        <a:solidFill>
          <a:srgbClr val="92D050"/>
        </a:solidFill>
        <a:ln>
          <a:solidFill>
            <a:schemeClr val="bg1"/>
          </a:solidFill>
        </a:ln>
      </dgm:spPr>
      <dgm:t>
        <a:bodyPr/>
        <a:lstStyle/>
        <a:p>
          <a:r>
            <a:rPr lang="nb-NO" sz="900" noProof="0"/>
            <a:t>Nedetid for </a:t>
          </a:r>
          <a:r>
            <a:rPr lang="nb-NO" sz="900" noProof="0" err="1"/>
            <a:t>mapping</a:t>
          </a:r>
          <a:endParaRPr lang="nb-NO" sz="900" noProof="0"/>
        </a:p>
      </dgm:t>
    </dgm:pt>
    <dgm:pt modelId="{4CE9D43E-7D29-4B14-A465-20A156FDB953}" type="parTrans" cxnId="{1579F83D-A393-4734-A7BC-7A07CA6A80B4}">
      <dgm:prSet/>
      <dgm:spPr/>
      <dgm:t>
        <a:bodyPr/>
        <a:lstStyle/>
        <a:p>
          <a:endParaRPr lang="nb-NO" sz="2400"/>
        </a:p>
      </dgm:t>
    </dgm:pt>
    <dgm:pt modelId="{D93A057B-6EA0-40CC-BC59-E8CD53E837E2}" type="sibTrans" cxnId="{1579F83D-A393-4734-A7BC-7A07CA6A80B4}">
      <dgm:prSet/>
      <dgm:spPr/>
      <dgm:t>
        <a:bodyPr/>
        <a:lstStyle/>
        <a:p>
          <a:endParaRPr lang="nb-NO" sz="2400"/>
        </a:p>
      </dgm:t>
    </dgm:pt>
    <dgm:pt modelId="{325E8F49-AC5A-443D-9803-696806910DCD}" type="pres">
      <dgm:prSet presAssocID="{680E8242-65C8-42DE-A0AE-C919471D461B}" presName="Name0" presStyleCnt="0">
        <dgm:presLayoutVars>
          <dgm:dir/>
          <dgm:animLvl val="lvl"/>
          <dgm:resizeHandles val="exact"/>
        </dgm:presLayoutVars>
      </dgm:prSet>
      <dgm:spPr/>
    </dgm:pt>
    <dgm:pt modelId="{B10FC968-B07E-4E0B-95BC-3FCC3841A247}" type="pres">
      <dgm:prSet presAssocID="{BEDD61B1-22D0-4BFF-AE4B-4854FA3E80C9}" presName="parTxOnly" presStyleLbl="node1" presStyleIdx="0" presStyleCnt="6" custScaleY="38037">
        <dgm:presLayoutVars>
          <dgm:chMax val="0"/>
          <dgm:chPref val="0"/>
          <dgm:bulletEnabled val="1"/>
        </dgm:presLayoutVars>
      </dgm:prSet>
      <dgm:spPr/>
    </dgm:pt>
    <dgm:pt modelId="{321C5222-EC61-44A4-AEB6-3F0BD9768AD4}" type="pres">
      <dgm:prSet presAssocID="{7D3CCF23-392C-4A4A-845A-1C34A97402EA}" presName="parTxOnlySpace" presStyleCnt="0"/>
      <dgm:spPr/>
    </dgm:pt>
    <dgm:pt modelId="{432D3C07-0407-4281-A88F-11F2BF303211}" type="pres">
      <dgm:prSet presAssocID="{8A03F8F1-C8F0-43B4-8011-4C5AF1C9D9E5}" presName="parTxOnly" presStyleLbl="node1" presStyleIdx="1" presStyleCnt="6" custScaleX="139431" custScaleY="38037">
        <dgm:presLayoutVars>
          <dgm:chMax val="0"/>
          <dgm:chPref val="0"/>
          <dgm:bulletEnabled val="1"/>
        </dgm:presLayoutVars>
      </dgm:prSet>
      <dgm:spPr/>
    </dgm:pt>
    <dgm:pt modelId="{93DD8A0A-80F5-459C-8096-381B91AC9764}" type="pres">
      <dgm:prSet presAssocID="{14C0036C-4E46-4B9A-B7AC-73E1CBF1FCE3}" presName="parTxOnlySpace" presStyleCnt="0"/>
      <dgm:spPr/>
    </dgm:pt>
    <dgm:pt modelId="{94BA6246-3E8B-4551-A14B-AEA9610E13ED}" type="pres">
      <dgm:prSet presAssocID="{88A2ADB9-7144-465A-B71E-8D8AF8244B44}" presName="parTxOnly" presStyleLbl="node1" presStyleIdx="2" presStyleCnt="6" custScaleX="110325" custScaleY="38037">
        <dgm:presLayoutVars>
          <dgm:chMax val="0"/>
          <dgm:chPref val="0"/>
          <dgm:bulletEnabled val="1"/>
        </dgm:presLayoutVars>
      </dgm:prSet>
      <dgm:spPr/>
    </dgm:pt>
    <dgm:pt modelId="{6D25B4A6-7601-47E5-B3FB-77B5BBC7C877}" type="pres">
      <dgm:prSet presAssocID="{8CBE2686-5787-4D9E-8FAC-2E4281DE40E0}" presName="parTxOnlySpace" presStyleCnt="0"/>
      <dgm:spPr/>
    </dgm:pt>
    <dgm:pt modelId="{727D323C-9DEE-43EE-8E41-FF394CBDB9D4}" type="pres">
      <dgm:prSet presAssocID="{586FC94F-A693-4C5A-BF57-B47072A10361}" presName="parTxOnly" presStyleLbl="node1" presStyleIdx="3" presStyleCnt="6" custScaleX="110325" custScaleY="38037">
        <dgm:presLayoutVars>
          <dgm:chMax val="0"/>
          <dgm:chPref val="0"/>
          <dgm:bulletEnabled val="1"/>
        </dgm:presLayoutVars>
      </dgm:prSet>
      <dgm:spPr/>
    </dgm:pt>
    <dgm:pt modelId="{4024FB24-B5EF-41D2-A76B-9F35D0A0693B}" type="pres">
      <dgm:prSet presAssocID="{FCE4DA86-DF50-44DC-BE01-1F566FF41BBF}" presName="parTxOnlySpace" presStyleCnt="0"/>
      <dgm:spPr/>
    </dgm:pt>
    <dgm:pt modelId="{3A36C0A9-A881-4766-8700-50B4C00E58C9}" type="pres">
      <dgm:prSet presAssocID="{58D4579C-49FD-4909-BE6B-4AA0B0F5A596}" presName="parTxOnly" presStyleLbl="node1" presStyleIdx="4" presStyleCnt="6" custScaleX="110325" custScaleY="38037">
        <dgm:presLayoutVars>
          <dgm:chMax val="0"/>
          <dgm:chPref val="0"/>
          <dgm:bulletEnabled val="1"/>
        </dgm:presLayoutVars>
      </dgm:prSet>
      <dgm:spPr/>
    </dgm:pt>
    <dgm:pt modelId="{E8F72CB2-0E86-46EA-95C9-8361B342AF02}" type="pres">
      <dgm:prSet presAssocID="{ADDCE810-88D5-48F3-8FC8-98659D49FB26}" presName="parTxOnlySpace" presStyleCnt="0"/>
      <dgm:spPr/>
    </dgm:pt>
    <dgm:pt modelId="{24D5E83A-4E3D-4403-BF28-F0FEFE3C8129}" type="pres">
      <dgm:prSet presAssocID="{4FA82D31-EF66-4B44-9139-E1235050E3EB}" presName="parTxOnly" presStyleLbl="node1" presStyleIdx="5" presStyleCnt="6" custScaleX="110325" custScaleY="38037">
        <dgm:presLayoutVars>
          <dgm:chMax val="0"/>
          <dgm:chPref val="0"/>
          <dgm:bulletEnabled val="1"/>
        </dgm:presLayoutVars>
      </dgm:prSet>
      <dgm:spPr/>
    </dgm:pt>
  </dgm:ptLst>
  <dgm:cxnLst>
    <dgm:cxn modelId="{2D5FEE29-616F-4D05-83D7-725E9E524571}" srcId="{680E8242-65C8-42DE-A0AE-C919471D461B}" destId="{88A2ADB9-7144-465A-B71E-8D8AF8244B44}" srcOrd="2" destOrd="0" parTransId="{B351AC3C-C88A-4967-BF68-06800A9D0B5C}" sibTransId="{8CBE2686-5787-4D9E-8FAC-2E4281DE40E0}"/>
    <dgm:cxn modelId="{1579F83D-A393-4734-A7BC-7A07CA6A80B4}" srcId="{680E8242-65C8-42DE-A0AE-C919471D461B}" destId="{4FA82D31-EF66-4B44-9139-E1235050E3EB}" srcOrd="5" destOrd="0" parTransId="{4CE9D43E-7D29-4B14-A465-20A156FDB953}" sibTransId="{D93A057B-6EA0-40CC-BC59-E8CD53E837E2}"/>
    <dgm:cxn modelId="{D4B1AF5C-8CE5-4BC0-AAF6-33960E79C88E}" type="presOf" srcId="{4FA82D31-EF66-4B44-9139-E1235050E3EB}" destId="{24D5E83A-4E3D-4403-BF28-F0FEFE3C8129}" srcOrd="0" destOrd="0" presId="urn:microsoft.com/office/officeart/2005/8/layout/chevron1"/>
    <dgm:cxn modelId="{96BA6B98-FC83-42F4-BEBD-D5090FAE1563}" srcId="{680E8242-65C8-42DE-A0AE-C919471D461B}" destId="{58D4579C-49FD-4909-BE6B-4AA0B0F5A596}" srcOrd="4" destOrd="0" parTransId="{771B7B1F-5D3F-4796-9F5E-17E42E9AE56C}" sibTransId="{ADDCE810-88D5-48F3-8FC8-98659D49FB26}"/>
    <dgm:cxn modelId="{ABAFF7A4-98FE-4457-A4D9-5E716761DAEB}" type="presOf" srcId="{8A03F8F1-C8F0-43B4-8011-4C5AF1C9D9E5}" destId="{432D3C07-0407-4281-A88F-11F2BF303211}" srcOrd="0" destOrd="0" presId="urn:microsoft.com/office/officeart/2005/8/layout/chevron1"/>
    <dgm:cxn modelId="{2E1715A9-3949-4AC2-A74B-9F1FDC75ABDB}" type="presOf" srcId="{58D4579C-49FD-4909-BE6B-4AA0B0F5A596}" destId="{3A36C0A9-A881-4766-8700-50B4C00E58C9}" srcOrd="0" destOrd="0" presId="urn:microsoft.com/office/officeart/2005/8/layout/chevron1"/>
    <dgm:cxn modelId="{947A77BB-8555-41FB-84CF-7345A7892A41}" srcId="{680E8242-65C8-42DE-A0AE-C919471D461B}" destId="{586FC94F-A693-4C5A-BF57-B47072A10361}" srcOrd="3" destOrd="0" parTransId="{B7520F78-4EA4-4B4B-AE46-40F554869357}" sibTransId="{FCE4DA86-DF50-44DC-BE01-1F566FF41BBF}"/>
    <dgm:cxn modelId="{C64E1DC6-A886-482A-8267-7DB905660C73}" type="presOf" srcId="{BEDD61B1-22D0-4BFF-AE4B-4854FA3E80C9}" destId="{B10FC968-B07E-4E0B-95BC-3FCC3841A247}" srcOrd="0" destOrd="0" presId="urn:microsoft.com/office/officeart/2005/8/layout/chevron1"/>
    <dgm:cxn modelId="{4666D1EA-4E0E-42BF-A583-3C5EFBE673A3}" type="presOf" srcId="{88A2ADB9-7144-465A-B71E-8D8AF8244B44}" destId="{94BA6246-3E8B-4551-A14B-AEA9610E13ED}" srcOrd="0" destOrd="0" presId="urn:microsoft.com/office/officeart/2005/8/layout/chevron1"/>
    <dgm:cxn modelId="{51E67AEC-8A21-4C42-8B0A-769FE04FF98C}" srcId="{680E8242-65C8-42DE-A0AE-C919471D461B}" destId="{BEDD61B1-22D0-4BFF-AE4B-4854FA3E80C9}" srcOrd="0" destOrd="0" parTransId="{2A60E80D-6E9E-436C-A8EA-03346B4BD886}" sibTransId="{7D3CCF23-392C-4A4A-845A-1C34A97402EA}"/>
    <dgm:cxn modelId="{95568EF6-4557-4E0C-9B23-41B27DC48598}" srcId="{680E8242-65C8-42DE-A0AE-C919471D461B}" destId="{8A03F8F1-C8F0-43B4-8011-4C5AF1C9D9E5}" srcOrd="1" destOrd="0" parTransId="{2689FBA7-15F9-4A5A-A11B-73D3F017C242}" sibTransId="{14C0036C-4E46-4B9A-B7AC-73E1CBF1FCE3}"/>
    <dgm:cxn modelId="{7F5D83F7-A098-40CC-A7BF-D305FBE1546E}" type="presOf" srcId="{680E8242-65C8-42DE-A0AE-C919471D461B}" destId="{325E8F49-AC5A-443D-9803-696806910DCD}" srcOrd="0" destOrd="0" presId="urn:microsoft.com/office/officeart/2005/8/layout/chevron1"/>
    <dgm:cxn modelId="{FD563AF8-6337-40AD-A80F-22A0A9B16AE4}" type="presOf" srcId="{586FC94F-A693-4C5A-BF57-B47072A10361}" destId="{727D323C-9DEE-43EE-8E41-FF394CBDB9D4}" srcOrd="0" destOrd="0" presId="urn:microsoft.com/office/officeart/2005/8/layout/chevron1"/>
    <dgm:cxn modelId="{96B5F95F-8B86-469F-B0EE-3DAB559A63B3}" type="presParOf" srcId="{325E8F49-AC5A-443D-9803-696806910DCD}" destId="{B10FC968-B07E-4E0B-95BC-3FCC3841A247}" srcOrd="0" destOrd="0" presId="urn:microsoft.com/office/officeart/2005/8/layout/chevron1"/>
    <dgm:cxn modelId="{5D6536D7-8387-430C-9A6F-F53BB3426FD6}" type="presParOf" srcId="{325E8F49-AC5A-443D-9803-696806910DCD}" destId="{321C5222-EC61-44A4-AEB6-3F0BD9768AD4}" srcOrd="1" destOrd="0" presId="urn:microsoft.com/office/officeart/2005/8/layout/chevron1"/>
    <dgm:cxn modelId="{4A4AB221-92C6-4C00-9852-7B4750DD3D3D}" type="presParOf" srcId="{325E8F49-AC5A-443D-9803-696806910DCD}" destId="{432D3C07-0407-4281-A88F-11F2BF303211}" srcOrd="2" destOrd="0" presId="urn:microsoft.com/office/officeart/2005/8/layout/chevron1"/>
    <dgm:cxn modelId="{B7C42E47-9A9A-44D3-BB13-07F553069255}" type="presParOf" srcId="{325E8F49-AC5A-443D-9803-696806910DCD}" destId="{93DD8A0A-80F5-459C-8096-381B91AC9764}" srcOrd="3" destOrd="0" presId="urn:microsoft.com/office/officeart/2005/8/layout/chevron1"/>
    <dgm:cxn modelId="{577F86A9-2B52-49BC-93FB-8788FF4A0728}" type="presParOf" srcId="{325E8F49-AC5A-443D-9803-696806910DCD}" destId="{94BA6246-3E8B-4551-A14B-AEA9610E13ED}" srcOrd="4" destOrd="0" presId="urn:microsoft.com/office/officeart/2005/8/layout/chevron1"/>
    <dgm:cxn modelId="{A2FA9403-0DB7-4AF0-9DA6-74E9052B06B2}" type="presParOf" srcId="{325E8F49-AC5A-443D-9803-696806910DCD}" destId="{6D25B4A6-7601-47E5-B3FB-77B5BBC7C877}" srcOrd="5" destOrd="0" presId="urn:microsoft.com/office/officeart/2005/8/layout/chevron1"/>
    <dgm:cxn modelId="{BE083DDF-2B2F-4AEA-9A63-ABCBE12AE29E}" type="presParOf" srcId="{325E8F49-AC5A-443D-9803-696806910DCD}" destId="{727D323C-9DEE-43EE-8E41-FF394CBDB9D4}" srcOrd="6" destOrd="0" presId="urn:microsoft.com/office/officeart/2005/8/layout/chevron1"/>
    <dgm:cxn modelId="{28ADA645-A253-4963-9FF5-977990787C46}" type="presParOf" srcId="{325E8F49-AC5A-443D-9803-696806910DCD}" destId="{4024FB24-B5EF-41D2-A76B-9F35D0A0693B}" srcOrd="7" destOrd="0" presId="urn:microsoft.com/office/officeart/2005/8/layout/chevron1"/>
    <dgm:cxn modelId="{82BF3897-4808-440E-86B3-F51E6205BD62}" type="presParOf" srcId="{325E8F49-AC5A-443D-9803-696806910DCD}" destId="{3A36C0A9-A881-4766-8700-50B4C00E58C9}" srcOrd="8" destOrd="0" presId="urn:microsoft.com/office/officeart/2005/8/layout/chevron1"/>
    <dgm:cxn modelId="{5916FB7B-B67E-4EE1-8D88-9843DA87B1C1}" type="presParOf" srcId="{325E8F49-AC5A-443D-9803-696806910DCD}" destId="{E8F72CB2-0E86-46EA-95C9-8361B342AF02}" srcOrd="9" destOrd="0" presId="urn:microsoft.com/office/officeart/2005/8/layout/chevron1"/>
    <dgm:cxn modelId="{F70FB542-20DD-4DF8-8403-82E2B8679F29}" type="presParOf" srcId="{325E8F49-AC5A-443D-9803-696806910DCD}" destId="{24D5E83A-4E3D-4403-BF28-F0FEFE3C8129}" srcOrd="10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25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FC295B7D-F857-4701-B417-8CA96F6BFFDD}" type="doc">
      <dgm:prSet loTypeId="urn:microsoft.com/office/officeart/2005/8/layout/hChevron3" loCatId="process" qsTypeId="urn:microsoft.com/office/officeart/2005/8/quickstyle/simple1" qsCatId="simple" csTypeId="urn:microsoft.com/office/officeart/2005/8/colors/accent1_4" csCatId="accent1" phldr="1"/>
      <dgm:spPr/>
    </dgm:pt>
    <dgm:pt modelId="{A53DFD9A-4278-42D6-A32D-23B9914C2737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Jan</a:t>
          </a:r>
        </a:p>
      </dgm:t>
    </dgm:pt>
    <dgm:pt modelId="{C30E3508-CF4C-4B17-87E1-A6BED450C84C}" type="parTrans" cxnId="{9568A93D-94F9-4966-83A3-C88683C6E04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F913E39C-95FC-4BA4-ACCA-4E5091F2C97B}" type="sibTrans" cxnId="{9568A93D-94F9-4966-83A3-C88683C6E04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63EB9005-20D6-42A4-8C4A-7C18913D6523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Feb</a:t>
          </a:r>
          <a:endParaRPr lang="nb-NO" sz="1600">
            <a:solidFill>
              <a:schemeClr val="tx1"/>
            </a:solidFill>
          </a:endParaRPr>
        </a:p>
      </dgm:t>
    </dgm:pt>
    <dgm:pt modelId="{25DDDD1A-08A4-409F-999B-57C5FB8AB6CB}" type="parTrans" cxnId="{E8394DAF-9D12-4B0A-896C-47AF58C463C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3C1E42E-ED5E-4F1D-A7CD-F9740C80DF3F}" type="sibTrans" cxnId="{E8394DAF-9D12-4B0A-896C-47AF58C463C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8CE7B1C9-0BD2-4462-B32D-4D31702C3E76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Mars</a:t>
          </a:r>
        </a:p>
      </dgm:t>
    </dgm:pt>
    <dgm:pt modelId="{2AC01C37-0939-40DE-8923-1C6C6C2610E7}" type="parTrans" cxnId="{08293CC0-CF60-46A6-9A8B-B99354DEC368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1939085-C2EE-49FB-A072-89E3A38B12AF}" type="sibTrans" cxnId="{08293CC0-CF60-46A6-9A8B-B99354DEC368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0D86B1FE-AC4F-4FD1-AA3C-F1D7B07E3891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April</a:t>
          </a:r>
        </a:p>
      </dgm:t>
    </dgm:pt>
    <dgm:pt modelId="{9786C803-8CC5-49F3-B443-4FD751F8C0F2}" type="parTrans" cxnId="{CF3A7C11-1D1F-4917-8C1E-F7A6905A066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D0EB1B8E-3D62-436B-81AE-22CFF478D2F7}" type="sibTrans" cxnId="{CF3A7C11-1D1F-4917-8C1E-F7A6905A066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7DD039A-6E5A-40AF-8817-8BECD499E1D2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Mai</a:t>
          </a:r>
        </a:p>
      </dgm:t>
    </dgm:pt>
    <dgm:pt modelId="{2DE9AB6D-5608-41E5-8EE2-B72BA286AE64}" type="parTrans" cxnId="{CF24E739-EC0D-440F-A384-F98ECBC87BE3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3E85B2B3-1759-4FE0-91CD-CCF04ACFDEA0}" type="sibTrans" cxnId="{CF24E739-EC0D-440F-A384-F98ECBC87BE3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4109414-31C0-4083-AFBC-0DA7D9E02CA5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Jun</a:t>
          </a:r>
          <a:endParaRPr lang="nb-NO" sz="1600">
            <a:solidFill>
              <a:schemeClr val="tx1"/>
            </a:solidFill>
          </a:endParaRPr>
        </a:p>
      </dgm:t>
    </dgm:pt>
    <dgm:pt modelId="{306C2B99-300B-44C4-B366-86CC00129EE1}" type="parTrans" cxnId="{6668B6E7-1C13-4DC7-A4D8-4E774C5F79A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D57F9888-59DD-4B8B-8001-885D841C0BC9}" type="sibTrans" cxnId="{6668B6E7-1C13-4DC7-A4D8-4E774C5F79A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901B503-3290-41FB-B3F8-0B587FC33E3B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nb-NO" sz="1600">
              <a:solidFill>
                <a:schemeClr val="bg1">
                  <a:lumMod val="75000"/>
                </a:schemeClr>
              </a:solidFill>
            </a:rPr>
            <a:t>Jul</a:t>
          </a:r>
        </a:p>
      </dgm:t>
    </dgm:pt>
    <dgm:pt modelId="{6D4F6CFE-717B-46CE-9876-7C904312C07F}" type="parTrans" cxnId="{56B06ACF-81EE-47CE-909C-8309BA40628F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57454D4F-3791-4ABF-A2BC-076FD55B9CF3}" type="sibTrans" cxnId="{56B06ACF-81EE-47CE-909C-8309BA40628F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6ADA94F4-E964-464C-B81A-A5997DE1D7EE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nb-NO" sz="1600" err="1">
              <a:solidFill>
                <a:schemeClr val="bg1">
                  <a:lumMod val="75000"/>
                </a:schemeClr>
              </a:solidFill>
            </a:rPr>
            <a:t>Aug</a:t>
          </a:r>
          <a:endParaRPr lang="nb-NO" sz="1600">
            <a:solidFill>
              <a:schemeClr val="bg1">
                <a:lumMod val="75000"/>
              </a:schemeClr>
            </a:solidFill>
          </a:endParaRPr>
        </a:p>
      </dgm:t>
    </dgm:pt>
    <dgm:pt modelId="{B8F8B226-D0E3-4D08-B384-255160124048}" type="parTrans" cxnId="{B2C53778-00A3-4ECB-B45E-D9A80FFF443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75DFA3E5-F7D5-4357-B890-DAE32F1ECAD2}" type="sibTrans" cxnId="{B2C53778-00A3-4ECB-B45E-D9A80FFF443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BE09310-B4AE-4B0A-A01F-157614B446AF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nb-NO" sz="1600" err="1">
              <a:solidFill>
                <a:schemeClr val="bg1">
                  <a:lumMod val="75000"/>
                </a:schemeClr>
              </a:solidFill>
            </a:rPr>
            <a:t>Sept</a:t>
          </a:r>
          <a:endParaRPr lang="nb-NO" sz="1600">
            <a:solidFill>
              <a:schemeClr val="bg1">
                <a:lumMod val="75000"/>
              </a:schemeClr>
            </a:solidFill>
          </a:endParaRPr>
        </a:p>
      </dgm:t>
    </dgm:pt>
    <dgm:pt modelId="{58093D7E-E63E-4895-8BC2-606D5BC6CEFF}" type="parTrans" cxnId="{06E96791-C78B-4A04-B271-12030991727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DF7D30C-FA32-432A-953F-93CD0BF53FE5}" type="sibTrans" cxnId="{06E96791-C78B-4A04-B271-12030991727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59C00689-6E1F-4D4F-B61B-93E45C162884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nb-NO" sz="1600" err="1">
              <a:solidFill>
                <a:schemeClr val="bg1">
                  <a:lumMod val="75000"/>
                </a:schemeClr>
              </a:solidFill>
            </a:rPr>
            <a:t>Okt</a:t>
          </a:r>
          <a:endParaRPr lang="nb-NO" sz="1600">
            <a:solidFill>
              <a:schemeClr val="bg1">
                <a:lumMod val="75000"/>
              </a:schemeClr>
            </a:solidFill>
          </a:endParaRPr>
        </a:p>
      </dgm:t>
    </dgm:pt>
    <dgm:pt modelId="{630BEF09-07F7-4558-A51F-C17A34876320}" type="parTrans" cxnId="{2575DBF3-3FAC-4B73-A1A1-483876B34AE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A7649572-3E4D-4ECA-ADCC-1D212F68A805}" type="sibTrans" cxnId="{2575DBF3-3FAC-4B73-A1A1-483876B34AE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12382D85-ACFD-490F-888C-2114F27C4BF7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nb-NO" sz="1600">
              <a:solidFill>
                <a:schemeClr val="bg1">
                  <a:lumMod val="75000"/>
                </a:schemeClr>
              </a:solidFill>
            </a:rPr>
            <a:t>Nov</a:t>
          </a:r>
        </a:p>
      </dgm:t>
    </dgm:pt>
    <dgm:pt modelId="{A7AB244B-E027-42E7-B6E3-5D858C1419CA}" type="parTrans" cxnId="{3A57C3D0-2FDA-4BF1-89DB-CD5741083A75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922AC5B-B516-4927-B774-10F116070995}" type="sibTrans" cxnId="{3A57C3D0-2FDA-4BF1-89DB-CD5741083A75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8EC9E499-5048-4496-9520-D91A43C8118D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nb-NO" sz="1600">
              <a:solidFill>
                <a:schemeClr val="bg1">
                  <a:lumMod val="75000"/>
                </a:schemeClr>
              </a:solidFill>
            </a:rPr>
            <a:t>Des</a:t>
          </a:r>
        </a:p>
      </dgm:t>
    </dgm:pt>
    <dgm:pt modelId="{E076673E-F3DE-4CFA-A9E3-4364A71E63AB}" type="parTrans" cxnId="{4B114B18-FFCC-4E34-BC14-A8A8466BF32B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36EEDC4-3639-4C95-9876-E0FE934E62ED}" type="sibTrans" cxnId="{4B114B18-FFCC-4E34-BC14-A8A8466BF32B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1BBE3D0C-6B6F-4B3A-A712-A00526757103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nb-NO" sz="1600">
              <a:solidFill>
                <a:schemeClr val="bg1">
                  <a:lumMod val="75000"/>
                </a:schemeClr>
              </a:solidFill>
            </a:rPr>
            <a:t>Jan</a:t>
          </a:r>
        </a:p>
      </dgm:t>
    </dgm:pt>
    <dgm:pt modelId="{8CA4EF54-DC83-45BA-BB4F-43A94C1BA681}" type="parTrans" cxnId="{A585E6BB-D089-4675-89FE-67D979360D74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AC54404-968E-47F7-A61A-1DA0B1A42840}" type="sibTrans" cxnId="{A585E6BB-D089-4675-89FE-67D979360D74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7C767CE-B71D-44DD-9F07-1172A1A708BB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nb-NO" sz="1600" err="1">
              <a:solidFill>
                <a:schemeClr val="bg1">
                  <a:lumMod val="75000"/>
                </a:schemeClr>
              </a:solidFill>
            </a:rPr>
            <a:t>Feb</a:t>
          </a:r>
          <a:endParaRPr lang="nb-NO" sz="1600">
            <a:solidFill>
              <a:schemeClr val="bg1">
                <a:lumMod val="75000"/>
              </a:schemeClr>
            </a:solidFill>
          </a:endParaRPr>
        </a:p>
      </dgm:t>
    </dgm:pt>
    <dgm:pt modelId="{12F37BFB-21C4-4647-BE4A-FB4ADB1A7835}" type="parTrans" cxnId="{48224370-A21D-4159-8E3D-3AA4A5230E72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0DF525DA-6D96-4524-BFE8-E8A7C9CA5F2C}" type="sibTrans" cxnId="{48224370-A21D-4159-8E3D-3AA4A5230E72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EEF8DC9F-A7A5-4737-B6D7-71E40C66DD58}" type="pres">
      <dgm:prSet presAssocID="{FC295B7D-F857-4701-B417-8CA96F6BFFDD}" presName="Name0" presStyleCnt="0">
        <dgm:presLayoutVars>
          <dgm:dir/>
          <dgm:resizeHandles val="exact"/>
        </dgm:presLayoutVars>
      </dgm:prSet>
      <dgm:spPr/>
    </dgm:pt>
    <dgm:pt modelId="{1CA2016E-9240-4939-AC74-35F63662D3AC}" type="pres">
      <dgm:prSet presAssocID="{A53DFD9A-4278-42D6-A32D-23B9914C2737}" presName="parTxOnly" presStyleLbl="node1" presStyleIdx="0" presStyleCnt="14" custScaleY="72955">
        <dgm:presLayoutVars>
          <dgm:bulletEnabled val="1"/>
        </dgm:presLayoutVars>
      </dgm:prSet>
      <dgm:spPr/>
    </dgm:pt>
    <dgm:pt modelId="{7E86FA99-36AC-4EDE-8AA2-3C83B26A6D7D}" type="pres">
      <dgm:prSet presAssocID="{F913E39C-95FC-4BA4-ACCA-4E5091F2C97B}" presName="parSpace" presStyleCnt="0"/>
      <dgm:spPr/>
    </dgm:pt>
    <dgm:pt modelId="{8B79A64D-9D22-4A79-A270-B7ADD22155D2}" type="pres">
      <dgm:prSet presAssocID="{63EB9005-20D6-42A4-8C4A-7C18913D6523}" presName="parTxOnly" presStyleLbl="node1" presStyleIdx="1" presStyleCnt="14" custScaleY="72955">
        <dgm:presLayoutVars>
          <dgm:bulletEnabled val="1"/>
        </dgm:presLayoutVars>
      </dgm:prSet>
      <dgm:spPr/>
    </dgm:pt>
    <dgm:pt modelId="{67F152AC-FF39-4A5D-908E-235C1FA0FE5A}" type="pres">
      <dgm:prSet presAssocID="{93C1E42E-ED5E-4F1D-A7CD-F9740C80DF3F}" presName="parSpace" presStyleCnt="0"/>
      <dgm:spPr/>
    </dgm:pt>
    <dgm:pt modelId="{094020EB-3143-4343-84FC-A8D8663415FA}" type="pres">
      <dgm:prSet presAssocID="{8CE7B1C9-0BD2-4462-B32D-4D31702C3E76}" presName="parTxOnly" presStyleLbl="node1" presStyleIdx="2" presStyleCnt="14" custScaleY="72955">
        <dgm:presLayoutVars>
          <dgm:bulletEnabled val="1"/>
        </dgm:presLayoutVars>
      </dgm:prSet>
      <dgm:spPr/>
    </dgm:pt>
    <dgm:pt modelId="{2F21F380-3DEB-49B9-802E-D96C60D6DEC0}" type="pres">
      <dgm:prSet presAssocID="{B1939085-C2EE-49FB-A072-89E3A38B12AF}" presName="parSpace" presStyleCnt="0"/>
      <dgm:spPr/>
    </dgm:pt>
    <dgm:pt modelId="{ECD0462F-FC86-43EC-9EE1-F98A4E3685E5}" type="pres">
      <dgm:prSet presAssocID="{0D86B1FE-AC4F-4FD1-AA3C-F1D7B07E3891}" presName="parTxOnly" presStyleLbl="node1" presStyleIdx="3" presStyleCnt="14" custScaleY="72955">
        <dgm:presLayoutVars>
          <dgm:bulletEnabled val="1"/>
        </dgm:presLayoutVars>
      </dgm:prSet>
      <dgm:spPr/>
    </dgm:pt>
    <dgm:pt modelId="{14C6B0AC-EAE3-41F4-A78F-8BCEF6B2062C}" type="pres">
      <dgm:prSet presAssocID="{D0EB1B8E-3D62-436B-81AE-22CFF478D2F7}" presName="parSpace" presStyleCnt="0"/>
      <dgm:spPr/>
    </dgm:pt>
    <dgm:pt modelId="{D851844B-5F9B-474F-BF45-9F1571037C6B}" type="pres">
      <dgm:prSet presAssocID="{97DD039A-6E5A-40AF-8817-8BECD499E1D2}" presName="parTxOnly" presStyleLbl="node1" presStyleIdx="4" presStyleCnt="14" custScaleY="72955">
        <dgm:presLayoutVars>
          <dgm:bulletEnabled val="1"/>
        </dgm:presLayoutVars>
      </dgm:prSet>
      <dgm:spPr/>
    </dgm:pt>
    <dgm:pt modelId="{D6B97D54-86A1-4294-8AE2-BB16CFC89823}" type="pres">
      <dgm:prSet presAssocID="{3E85B2B3-1759-4FE0-91CD-CCF04ACFDEA0}" presName="parSpace" presStyleCnt="0"/>
      <dgm:spPr/>
    </dgm:pt>
    <dgm:pt modelId="{21EE003F-A6AE-47D0-8F30-7E500E2B43C5}" type="pres">
      <dgm:prSet presAssocID="{C4109414-31C0-4083-AFBC-0DA7D9E02CA5}" presName="parTxOnly" presStyleLbl="node1" presStyleIdx="5" presStyleCnt="14" custScaleY="72955">
        <dgm:presLayoutVars>
          <dgm:bulletEnabled val="1"/>
        </dgm:presLayoutVars>
      </dgm:prSet>
      <dgm:spPr/>
    </dgm:pt>
    <dgm:pt modelId="{73780782-3044-4E1D-80A1-2A421F143FCB}" type="pres">
      <dgm:prSet presAssocID="{D57F9888-59DD-4B8B-8001-885D841C0BC9}" presName="parSpace" presStyleCnt="0"/>
      <dgm:spPr/>
    </dgm:pt>
    <dgm:pt modelId="{6B98CBCD-E89E-4180-8377-1128BB900E75}" type="pres">
      <dgm:prSet presAssocID="{B901B503-3290-41FB-B3F8-0B587FC33E3B}" presName="parTxOnly" presStyleLbl="node1" presStyleIdx="6" presStyleCnt="14" custScaleY="72955">
        <dgm:presLayoutVars>
          <dgm:bulletEnabled val="1"/>
        </dgm:presLayoutVars>
      </dgm:prSet>
      <dgm:spPr/>
    </dgm:pt>
    <dgm:pt modelId="{7532E259-5AF4-4BE9-8827-7DA286DF1CEB}" type="pres">
      <dgm:prSet presAssocID="{57454D4F-3791-4ABF-A2BC-076FD55B9CF3}" presName="parSpace" presStyleCnt="0"/>
      <dgm:spPr/>
    </dgm:pt>
    <dgm:pt modelId="{AF814335-286D-4A63-9B4D-2D3466461DDB}" type="pres">
      <dgm:prSet presAssocID="{6ADA94F4-E964-464C-B81A-A5997DE1D7EE}" presName="parTxOnly" presStyleLbl="node1" presStyleIdx="7" presStyleCnt="14" custScaleY="72955">
        <dgm:presLayoutVars>
          <dgm:bulletEnabled val="1"/>
        </dgm:presLayoutVars>
      </dgm:prSet>
      <dgm:spPr/>
    </dgm:pt>
    <dgm:pt modelId="{9E772E0C-A598-4235-BC54-43B82487BE6B}" type="pres">
      <dgm:prSet presAssocID="{75DFA3E5-F7D5-4357-B890-DAE32F1ECAD2}" presName="parSpace" presStyleCnt="0"/>
      <dgm:spPr/>
    </dgm:pt>
    <dgm:pt modelId="{A10BF886-FB56-4505-A18A-A6E570242149}" type="pres">
      <dgm:prSet presAssocID="{BBE09310-B4AE-4B0A-A01F-157614B446AF}" presName="parTxOnly" presStyleLbl="node1" presStyleIdx="8" presStyleCnt="14" custScaleY="72955">
        <dgm:presLayoutVars>
          <dgm:bulletEnabled val="1"/>
        </dgm:presLayoutVars>
      </dgm:prSet>
      <dgm:spPr/>
    </dgm:pt>
    <dgm:pt modelId="{B1B1D131-C83B-45DF-87BB-551769A4FBC2}" type="pres">
      <dgm:prSet presAssocID="{CDF7D30C-FA32-432A-953F-93CD0BF53FE5}" presName="parSpace" presStyleCnt="0"/>
      <dgm:spPr/>
    </dgm:pt>
    <dgm:pt modelId="{395877A3-2998-45B1-8766-D05006EF8E29}" type="pres">
      <dgm:prSet presAssocID="{59C00689-6E1F-4D4F-B61B-93E45C162884}" presName="parTxOnly" presStyleLbl="node1" presStyleIdx="9" presStyleCnt="14" custScaleY="72955">
        <dgm:presLayoutVars>
          <dgm:bulletEnabled val="1"/>
        </dgm:presLayoutVars>
      </dgm:prSet>
      <dgm:spPr/>
    </dgm:pt>
    <dgm:pt modelId="{E51B4D1F-BE70-4027-A953-1181740A4BB8}" type="pres">
      <dgm:prSet presAssocID="{A7649572-3E4D-4ECA-ADCC-1D212F68A805}" presName="parSpace" presStyleCnt="0"/>
      <dgm:spPr/>
    </dgm:pt>
    <dgm:pt modelId="{A379D365-20DF-4073-A1AB-BA299F9B590E}" type="pres">
      <dgm:prSet presAssocID="{12382D85-ACFD-490F-888C-2114F27C4BF7}" presName="parTxOnly" presStyleLbl="node1" presStyleIdx="10" presStyleCnt="14" custScaleY="72955">
        <dgm:presLayoutVars>
          <dgm:bulletEnabled val="1"/>
        </dgm:presLayoutVars>
      </dgm:prSet>
      <dgm:spPr/>
    </dgm:pt>
    <dgm:pt modelId="{90BD7D04-31E3-477D-8AA8-26AD80BB62E0}" type="pres">
      <dgm:prSet presAssocID="{9922AC5B-B516-4927-B774-10F116070995}" presName="parSpace" presStyleCnt="0"/>
      <dgm:spPr/>
    </dgm:pt>
    <dgm:pt modelId="{3ED65369-217E-4D49-9F64-4471C6F48357}" type="pres">
      <dgm:prSet presAssocID="{8EC9E499-5048-4496-9520-D91A43C8118D}" presName="parTxOnly" presStyleLbl="node1" presStyleIdx="11" presStyleCnt="14" custScaleY="72955">
        <dgm:presLayoutVars>
          <dgm:bulletEnabled val="1"/>
        </dgm:presLayoutVars>
      </dgm:prSet>
      <dgm:spPr/>
    </dgm:pt>
    <dgm:pt modelId="{1E8306B6-1370-4444-B39B-692DFBDC6CFD}" type="pres">
      <dgm:prSet presAssocID="{B36EEDC4-3639-4C95-9876-E0FE934E62ED}" presName="parSpace" presStyleCnt="0"/>
      <dgm:spPr/>
    </dgm:pt>
    <dgm:pt modelId="{2D49D640-C7D1-4468-B187-B2874A901B0B}" type="pres">
      <dgm:prSet presAssocID="{1BBE3D0C-6B6F-4B3A-A712-A00526757103}" presName="parTxOnly" presStyleLbl="node1" presStyleIdx="12" presStyleCnt="14" custScaleY="72955">
        <dgm:presLayoutVars>
          <dgm:bulletEnabled val="1"/>
        </dgm:presLayoutVars>
      </dgm:prSet>
      <dgm:spPr/>
    </dgm:pt>
    <dgm:pt modelId="{BB666EE6-0491-4B9A-A011-5CC94620A38F}" type="pres">
      <dgm:prSet presAssocID="{CAC54404-968E-47F7-A61A-1DA0B1A42840}" presName="parSpace" presStyleCnt="0"/>
      <dgm:spPr/>
    </dgm:pt>
    <dgm:pt modelId="{FF492FC4-140E-4C27-B8F3-3E7AF3B20685}" type="pres">
      <dgm:prSet presAssocID="{C7C767CE-B71D-44DD-9F07-1172A1A708BB}" presName="parTxOnly" presStyleLbl="node1" presStyleIdx="13" presStyleCnt="14" custScaleY="72955">
        <dgm:presLayoutVars>
          <dgm:bulletEnabled val="1"/>
        </dgm:presLayoutVars>
      </dgm:prSet>
      <dgm:spPr/>
    </dgm:pt>
  </dgm:ptLst>
  <dgm:cxnLst>
    <dgm:cxn modelId="{FED5B103-1C66-4321-A002-4F6D451F46E1}" type="presOf" srcId="{97DD039A-6E5A-40AF-8817-8BECD499E1D2}" destId="{D851844B-5F9B-474F-BF45-9F1571037C6B}" srcOrd="0" destOrd="0" presId="urn:microsoft.com/office/officeart/2005/8/layout/hChevron3"/>
    <dgm:cxn modelId="{FDB73E04-4643-4051-B61F-32206937C126}" type="presOf" srcId="{1BBE3D0C-6B6F-4B3A-A712-A00526757103}" destId="{2D49D640-C7D1-4468-B187-B2874A901B0B}" srcOrd="0" destOrd="0" presId="urn:microsoft.com/office/officeart/2005/8/layout/hChevron3"/>
    <dgm:cxn modelId="{CF3A7C11-1D1F-4917-8C1E-F7A6905A066D}" srcId="{FC295B7D-F857-4701-B417-8CA96F6BFFDD}" destId="{0D86B1FE-AC4F-4FD1-AA3C-F1D7B07E3891}" srcOrd="3" destOrd="0" parTransId="{9786C803-8CC5-49F3-B443-4FD751F8C0F2}" sibTransId="{D0EB1B8E-3D62-436B-81AE-22CFF478D2F7}"/>
    <dgm:cxn modelId="{4B114B18-FFCC-4E34-BC14-A8A8466BF32B}" srcId="{FC295B7D-F857-4701-B417-8CA96F6BFFDD}" destId="{8EC9E499-5048-4496-9520-D91A43C8118D}" srcOrd="11" destOrd="0" parTransId="{E076673E-F3DE-4CFA-A9E3-4364A71E63AB}" sibTransId="{B36EEDC4-3639-4C95-9876-E0FE934E62ED}"/>
    <dgm:cxn modelId="{B0D30623-49E5-4E75-BDEE-C8BF368B313C}" type="presOf" srcId="{FC295B7D-F857-4701-B417-8CA96F6BFFDD}" destId="{EEF8DC9F-A7A5-4737-B6D7-71E40C66DD58}" srcOrd="0" destOrd="0" presId="urn:microsoft.com/office/officeart/2005/8/layout/hChevron3"/>
    <dgm:cxn modelId="{CF24E739-EC0D-440F-A384-F98ECBC87BE3}" srcId="{FC295B7D-F857-4701-B417-8CA96F6BFFDD}" destId="{97DD039A-6E5A-40AF-8817-8BECD499E1D2}" srcOrd="4" destOrd="0" parTransId="{2DE9AB6D-5608-41E5-8EE2-B72BA286AE64}" sibTransId="{3E85B2B3-1759-4FE0-91CD-CCF04ACFDEA0}"/>
    <dgm:cxn modelId="{9568A93D-94F9-4966-83A3-C88683C6E04D}" srcId="{FC295B7D-F857-4701-B417-8CA96F6BFFDD}" destId="{A53DFD9A-4278-42D6-A32D-23B9914C2737}" srcOrd="0" destOrd="0" parTransId="{C30E3508-CF4C-4B17-87E1-A6BED450C84C}" sibTransId="{F913E39C-95FC-4BA4-ACCA-4E5091F2C97B}"/>
    <dgm:cxn modelId="{06509E40-E1EE-451C-BA75-8C2693C07295}" type="presOf" srcId="{59C00689-6E1F-4D4F-B61B-93E45C162884}" destId="{395877A3-2998-45B1-8766-D05006EF8E29}" srcOrd="0" destOrd="0" presId="urn:microsoft.com/office/officeart/2005/8/layout/hChevron3"/>
    <dgm:cxn modelId="{614B1048-AD29-4587-A462-527E202C49A3}" type="presOf" srcId="{8CE7B1C9-0BD2-4462-B32D-4D31702C3E76}" destId="{094020EB-3143-4343-84FC-A8D8663415FA}" srcOrd="0" destOrd="0" presId="urn:microsoft.com/office/officeart/2005/8/layout/hChevron3"/>
    <dgm:cxn modelId="{0B37EC69-6685-4A2E-B930-CE41DCF5CB7B}" type="presOf" srcId="{0D86B1FE-AC4F-4FD1-AA3C-F1D7B07E3891}" destId="{ECD0462F-FC86-43EC-9EE1-F98A4E3685E5}" srcOrd="0" destOrd="0" presId="urn:microsoft.com/office/officeart/2005/8/layout/hChevron3"/>
    <dgm:cxn modelId="{48224370-A21D-4159-8E3D-3AA4A5230E72}" srcId="{FC295B7D-F857-4701-B417-8CA96F6BFFDD}" destId="{C7C767CE-B71D-44DD-9F07-1172A1A708BB}" srcOrd="13" destOrd="0" parTransId="{12F37BFB-21C4-4647-BE4A-FB4ADB1A7835}" sibTransId="{0DF525DA-6D96-4524-BFE8-E8A7C9CA5F2C}"/>
    <dgm:cxn modelId="{7CBD5952-274C-45EF-8FAF-9CBC6A0E51D6}" type="presOf" srcId="{A53DFD9A-4278-42D6-A32D-23B9914C2737}" destId="{1CA2016E-9240-4939-AC74-35F63662D3AC}" srcOrd="0" destOrd="0" presId="urn:microsoft.com/office/officeart/2005/8/layout/hChevron3"/>
    <dgm:cxn modelId="{B2C53778-00A3-4ECB-B45E-D9A80FFF4430}" srcId="{FC295B7D-F857-4701-B417-8CA96F6BFFDD}" destId="{6ADA94F4-E964-464C-B81A-A5997DE1D7EE}" srcOrd="7" destOrd="0" parTransId="{B8F8B226-D0E3-4D08-B384-255160124048}" sibTransId="{75DFA3E5-F7D5-4357-B890-DAE32F1ECAD2}"/>
    <dgm:cxn modelId="{755D1F8B-CC6E-4B2E-8499-00ED7E1B81E1}" type="presOf" srcId="{C4109414-31C0-4083-AFBC-0DA7D9E02CA5}" destId="{21EE003F-A6AE-47D0-8F30-7E500E2B43C5}" srcOrd="0" destOrd="0" presId="urn:microsoft.com/office/officeart/2005/8/layout/hChevron3"/>
    <dgm:cxn modelId="{06E96791-C78B-4A04-B271-120309917277}" srcId="{FC295B7D-F857-4701-B417-8CA96F6BFFDD}" destId="{BBE09310-B4AE-4B0A-A01F-157614B446AF}" srcOrd="8" destOrd="0" parTransId="{58093D7E-E63E-4895-8BC2-606D5BC6CEFF}" sibTransId="{CDF7D30C-FA32-432A-953F-93CD0BF53FE5}"/>
    <dgm:cxn modelId="{05DF6F9B-635A-466C-A3E4-29E6C351B3A5}" type="presOf" srcId="{6ADA94F4-E964-464C-B81A-A5997DE1D7EE}" destId="{AF814335-286D-4A63-9B4D-2D3466461DDB}" srcOrd="0" destOrd="0" presId="urn:microsoft.com/office/officeart/2005/8/layout/hChevron3"/>
    <dgm:cxn modelId="{05F482A7-E4D3-4CE5-BBB0-FEBDDA1A0715}" type="presOf" srcId="{8EC9E499-5048-4496-9520-D91A43C8118D}" destId="{3ED65369-217E-4D49-9F64-4471C6F48357}" srcOrd="0" destOrd="0" presId="urn:microsoft.com/office/officeart/2005/8/layout/hChevron3"/>
    <dgm:cxn modelId="{E8394DAF-9D12-4B0A-896C-47AF58C463CD}" srcId="{FC295B7D-F857-4701-B417-8CA96F6BFFDD}" destId="{63EB9005-20D6-42A4-8C4A-7C18913D6523}" srcOrd="1" destOrd="0" parTransId="{25DDDD1A-08A4-409F-999B-57C5FB8AB6CB}" sibTransId="{93C1E42E-ED5E-4F1D-A7CD-F9740C80DF3F}"/>
    <dgm:cxn modelId="{61989EB0-1C4B-4BDD-B79D-B201D4A1D2E4}" type="presOf" srcId="{63EB9005-20D6-42A4-8C4A-7C18913D6523}" destId="{8B79A64D-9D22-4A79-A270-B7ADD22155D2}" srcOrd="0" destOrd="0" presId="urn:microsoft.com/office/officeart/2005/8/layout/hChevron3"/>
    <dgm:cxn modelId="{6B7121B2-1FEC-4832-A47B-0A99E724AC73}" type="presOf" srcId="{BBE09310-B4AE-4B0A-A01F-157614B446AF}" destId="{A10BF886-FB56-4505-A18A-A6E570242149}" srcOrd="0" destOrd="0" presId="urn:microsoft.com/office/officeart/2005/8/layout/hChevron3"/>
    <dgm:cxn modelId="{A585E6BB-D089-4675-89FE-67D979360D74}" srcId="{FC295B7D-F857-4701-B417-8CA96F6BFFDD}" destId="{1BBE3D0C-6B6F-4B3A-A712-A00526757103}" srcOrd="12" destOrd="0" parTransId="{8CA4EF54-DC83-45BA-BB4F-43A94C1BA681}" sibTransId="{CAC54404-968E-47F7-A61A-1DA0B1A42840}"/>
    <dgm:cxn modelId="{08293CC0-CF60-46A6-9A8B-B99354DEC368}" srcId="{FC295B7D-F857-4701-B417-8CA96F6BFFDD}" destId="{8CE7B1C9-0BD2-4462-B32D-4D31702C3E76}" srcOrd="2" destOrd="0" parTransId="{2AC01C37-0939-40DE-8923-1C6C6C2610E7}" sibTransId="{B1939085-C2EE-49FB-A072-89E3A38B12AF}"/>
    <dgm:cxn modelId="{15F2F4C3-F0C7-4093-8B53-BC515EE11E5A}" type="presOf" srcId="{12382D85-ACFD-490F-888C-2114F27C4BF7}" destId="{A379D365-20DF-4073-A1AB-BA299F9B590E}" srcOrd="0" destOrd="0" presId="urn:microsoft.com/office/officeart/2005/8/layout/hChevron3"/>
    <dgm:cxn modelId="{091C0BCA-7C60-424B-BAAF-6E61323AF5C6}" type="presOf" srcId="{C7C767CE-B71D-44DD-9F07-1172A1A708BB}" destId="{FF492FC4-140E-4C27-B8F3-3E7AF3B20685}" srcOrd="0" destOrd="0" presId="urn:microsoft.com/office/officeart/2005/8/layout/hChevron3"/>
    <dgm:cxn modelId="{56B06ACF-81EE-47CE-909C-8309BA40628F}" srcId="{FC295B7D-F857-4701-B417-8CA96F6BFFDD}" destId="{B901B503-3290-41FB-B3F8-0B587FC33E3B}" srcOrd="6" destOrd="0" parTransId="{6D4F6CFE-717B-46CE-9876-7C904312C07F}" sibTransId="{57454D4F-3791-4ABF-A2BC-076FD55B9CF3}"/>
    <dgm:cxn modelId="{3A57C3D0-2FDA-4BF1-89DB-CD5741083A75}" srcId="{FC295B7D-F857-4701-B417-8CA96F6BFFDD}" destId="{12382D85-ACFD-490F-888C-2114F27C4BF7}" srcOrd="10" destOrd="0" parTransId="{A7AB244B-E027-42E7-B6E3-5D858C1419CA}" sibTransId="{9922AC5B-B516-4927-B774-10F116070995}"/>
    <dgm:cxn modelId="{60D978E0-411C-498F-B2BF-ED02726DC0B0}" type="presOf" srcId="{B901B503-3290-41FB-B3F8-0B587FC33E3B}" destId="{6B98CBCD-E89E-4180-8377-1128BB900E75}" srcOrd="0" destOrd="0" presId="urn:microsoft.com/office/officeart/2005/8/layout/hChevron3"/>
    <dgm:cxn modelId="{6668B6E7-1C13-4DC7-A4D8-4E774C5F79A0}" srcId="{FC295B7D-F857-4701-B417-8CA96F6BFFDD}" destId="{C4109414-31C0-4083-AFBC-0DA7D9E02CA5}" srcOrd="5" destOrd="0" parTransId="{306C2B99-300B-44C4-B366-86CC00129EE1}" sibTransId="{D57F9888-59DD-4B8B-8001-885D841C0BC9}"/>
    <dgm:cxn modelId="{2575DBF3-3FAC-4B73-A1A1-483876B34AE7}" srcId="{FC295B7D-F857-4701-B417-8CA96F6BFFDD}" destId="{59C00689-6E1F-4D4F-B61B-93E45C162884}" srcOrd="9" destOrd="0" parTransId="{630BEF09-07F7-4558-A51F-C17A34876320}" sibTransId="{A7649572-3E4D-4ECA-ADCC-1D212F68A805}"/>
    <dgm:cxn modelId="{BBC2CD05-BE99-4BE9-8B50-CF4D28022165}" type="presParOf" srcId="{EEF8DC9F-A7A5-4737-B6D7-71E40C66DD58}" destId="{1CA2016E-9240-4939-AC74-35F63662D3AC}" srcOrd="0" destOrd="0" presId="urn:microsoft.com/office/officeart/2005/8/layout/hChevron3"/>
    <dgm:cxn modelId="{F0203C37-E732-442F-AE19-E7F361B3A063}" type="presParOf" srcId="{EEF8DC9F-A7A5-4737-B6D7-71E40C66DD58}" destId="{7E86FA99-36AC-4EDE-8AA2-3C83B26A6D7D}" srcOrd="1" destOrd="0" presId="urn:microsoft.com/office/officeart/2005/8/layout/hChevron3"/>
    <dgm:cxn modelId="{51AD80D2-26AE-48FE-B3CE-1AF68A632878}" type="presParOf" srcId="{EEF8DC9F-A7A5-4737-B6D7-71E40C66DD58}" destId="{8B79A64D-9D22-4A79-A270-B7ADD22155D2}" srcOrd="2" destOrd="0" presId="urn:microsoft.com/office/officeart/2005/8/layout/hChevron3"/>
    <dgm:cxn modelId="{0E323538-6FB8-4338-A254-7DB778198979}" type="presParOf" srcId="{EEF8DC9F-A7A5-4737-B6D7-71E40C66DD58}" destId="{67F152AC-FF39-4A5D-908E-235C1FA0FE5A}" srcOrd="3" destOrd="0" presId="urn:microsoft.com/office/officeart/2005/8/layout/hChevron3"/>
    <dgm:cxn modelId="{CF604A35-25CE-41AE-8BBA-97D3100B12EB}" type="presParOf" srcId="{EEF8DC9F-A7A5-4737-B6D7-71E40C66DD58}" destId="{094020EB-3143-4343-84FC-A8D8663415FA}" srcOrd="4" destOrd="0" presId="urn:microsoft.com/office/officeart/2005/8/layout/hChevron3"/>
    <dgm:cxn modelId="{3691FD85-63F1-4177-A9A0-8F041A8F7F42}" type="presParOf" srcId="{EEF8DC9F-A7A5-4737-B6D7-71E40C66DD58}" destId="{2F21F380-3DEB-49B9-802E-D96C60D6DEC0}" srcOrd="5" destOrd="0" presId="urn:microsoft.com/office/officeart/2005/8/layout/hChevron3"/>
    <dgm:cxn modelId="{B825CE78-984A-4825-A9BC-67B4FC7FEDB7}" type="presParOf" srcId="{EEF8DC9F-A7A5-4737-B6D7-71E40C66DD58}" destId="{ECD0462F-FC86-43EC-9EE1-F98A4E3685E5}" srcOrd="6" destOrd="0" presId="urn:microsoft.com/office/officeart/2005/8/layout/hChevron3"/>
    <dgm:cxn modelId="{F0DEBCFF-B2C1-45D7-AE29-A6FEA349086B}" type="presParOf" srcId="{EEF8DC9F-A7A5-4737-B6D7-71E40C66DD58}" destId="{14C6B0AC-EAE3-41F4-A78F-8BCEF6B2062C}" srcOrd="7" destOrd="0" presId="urn:microsoft.com/office/officeart/2005/8/layout/hChevron3"/>
    <dgm:cxn modelId="{4F0B3AAF-122E-40B1-91AC-C866E6A33E0F}" type="presParOf" srcId="{EEF8DC9F-A7A5-4737-B6D7-71E40C66DD58}" destId="{D851844B-5F9B-474F-BF45-9F1571037C6B}" srcOrd="8" destOrd="0" presId="urn:microsoft.com/office/officeart/2005/8/layout/hChevron3"/>
    <dgm:cxn modelId="{7762C01C-8888-4205-940A-3890AEBAAD5A}" type="presParOf" srcId="{EEF8DC9F-A7A5-4737-B6D7-71E40C66DD58}" destId="{D6B97D54-86A1-4294-8AE2-BB16CFC89823}" srcOrd="9" destOrd="0" presId="urn:microsoft.com/office/officeart/2005/8/layout/hChevron3"/>
    <dgm:cxn modelId="{181D047A-7024-499E-8939-C89A8C16FF42}" type="presParOf" srcId="{EEF8DC9F-A7A5-4737-B6D7-71E40C66DD58}" destId="{21EE003F-A6AE-47D0-8F30-7E500E2B43C5}" srcOrd="10" destOrd="0" presId="urn:microsoft.com/office/officeart/2005/8/layout/hChevron3"/>
    <dgm:cxn modelId="{461D789A-B67E-46C0-B193-ED47E8316F31}" type="presParOf" srcId="{EEF8DC9F-A7A5-4737-B6D7-71E40C66DD58}" destId="{73780782-3044-4E1D-80A1-2A421F143FCB}" srcOrd="11" destOrd="0" presId="urn:microsoft.com/office/officeart/2005/8/layout/hChevron3"/>
    <dgm:cxn modelId="{C6BAF284-5307-41D5-A599-44957CD732B2}" type="presParOf" srcId="{EEF8DC9F-A7A5-4737-B6D7-71E40C66DD58}" destId="{6B98CBCD-E89E-4180-8377-1128BB900E75}" srcOrd="12" destOrd="0" presId="urn:microsoft.com/office/officeart/2005/8/layout/hChevron3"/>
    <dgm:cxn modelId="{352AE785-5171-4D3E-B6EF-3B22D2E2077E}" type="presParOf" srcId="{EEF8DC9F-A7A5-4737-B6D7-71E40C66DD58}" destId="{7532E259-5AF4-4BE9-8827-7DA286DF1CEB}" srcOrd="13" destOrd="0" presId="urn:microsoft.com/office/officeart/2005/8/layout/hChevron3"/>
    <dgm:cxn modelId="{10BA4780-6A9F-43FE-AF11-C848BCE0CC18}" type="presParOf" srcId="{EEF8DC9F-A7A5-4737-B6D7-71E40C66DD58}" destId="{AF814335-286D-4A63-9B4D-2D3466461DDB}" srcOrd="14" destOrd="0" presId="urn:microsoft.com/office/officeart/2005/8/layout/hChevron3"/>
    <dgm:cxn modelId="{D8EEA65A-A9AC-470F-8D3C-84D61D64504F}" type="presParOf" srcId="{EEF8DC9F-A7A5-4737-B6D7-71E40C66DD58}" destId="{9E772E0C-A598-4235-BC54-43B82487BE6B}" srcOrd="15" destOrd="0" presId="urn:microsoft.com/office/officeart/2005/8/layout/hChevron3"/>
    <dgm:cxn modelId="{2306827D-8A75-4C05-81CC-927CC5421D63}" type="presParOf" srcId="{EEF8DC9F-A7A5-4737-B6D7-71E40C66DD58}" destId="{A10BF886-FB56-4505-A18A-A6E570242149}" srcOrd="16" destOrd="0" presId="urn:microsoft.com/office/officeart/2005/8/layout/hChevron3"/>
    <dgm:cxn modelId="{8AC25B6D-A7AB-416B-934D-145C5A954D36}" type="presParOf" srcId="{EEF8DC9F-A7A5-4737-B6D7-71E40C66DD58}" destId="{B1B1D131-C83B-45DF-87BB-551769A4FBC2}" srcOrd="17" destOrd="0" presId="urn:microsoft.com/office/officeart/2005/8/layout/hChevron3"/>
    <dgm:cxn modelId="{45D29DDD-7576-4BF9-AA58-8D20A4231A26}" type="presParOf" srcId="{EEF8DC9F-A7A5-4737-B6D7-71E40C66DD58}" destId="{395877A3-2998-45B1-8766-D05006EF8E29}" srcOrd="18" destOrd="0" presId="urn:microsoft.com/office/officeart/2005/8/layout/hChevron3"/>
    <dgm:cxn modelId="{59D46CB9-123C-4B81-B0E3-37C9110DED65}" type="presParOf" srcId="{EEF8DC9F-A7A5-4737-B6D7-71E40C66DD58}" destId="{E51B4D1F-BE70-4027-A953-1181740A4BB8}" srcOrd="19" destOrd="0" presId="urn:microsoft.com/office/officeart/2005/8/layout/hChevron3"/>
    <dgm:cxn modelId="{16C2B860-76BD-4DAE-A2A2-8E257EB4D8BF}" type="presParOf" srcId="{EEF8DC9F-A7A5-4737-B6D7-71E40C66DD58}" destId="{A379D365-20DF-4073-A1AB-BA299F9B590E}" srcOrd="20" destOrd="0" presId="urn:microsoft.com/office/officeart/2005/8/layout/hChevron3"/>
    <dgm:cxn modelId="{DDE2C823-8978-4656-ACB5-1317E77F2F6D}" type="presParOf" srcId="{EEF8DC9F-A7A5-4737-B6D7-71E40C66DD58}" destId="{90BD7D04-31E3-477D-8AA8-26AD80BB62E0}" srcOrd="21" destOrd="0" presId="urn:microsoft.com/office/officeart/2005/8/layout/hChevron3"/>
    <dgm:cxn modelId="{F5824407-8719-47CE-91EF-DE0227EDDB67}" type="presParOf" srcId="{EEF8DC9F-A7A5-4737-B6D7-71E40C66DD58}" destId="{3ED65369-217E-4D49-9F64-4471C6F48357}" srcOrd="22" destOrd="0" presId="urn:microsoft.com/office/officeart/2005/8/layout/hChevron3"/>
    <dgm:cxn modelId="{338838B8-546A-42B9-9C18-CD34E31DC45C}" type="presParOf" srcId="{EEF8DC9F-A7A5-4737-B6D7-71E40C66DD58}" destId="{1E8306B6-1370-4444-B39B-692DFBDC6CFD}" srcOrd="23" destOrd="0" presId="urn:microsoft.com/office/officeart/2005/8/layout/hChevron3"/>
    <dgm:cxn modelId="{023BBC86-6F0B-428E-A7B9-E7A266696288}" type="presParOf" srcId="{EEF8DC9F-A7A5-4737-B6D7-71E40C66DD58}" destId="{2D49D640-C7D1-4468-B187-B2874A901B0B}" srcOrd="24" destOrd="0" presId="urn:microsoft.com/office/officeart/2005/8/layout/hChevron3"/>
    <dgm:cxn modelId="{9A79F27C-0D5C-463E-9C67-BC68518626B1}" type="presParOf" srcId="{EEF8DC9F-A7A5-4737-B6D7-71E40C66DD58}" destId="{BB666EE6-0491-4B9A-A011-5CC94620A38F}" srcOrd="25" destOrd="0" presId="urn:microsoft.com/office/officeart/2005/8/layout/hChevron3"/>
    <dgm:cxn modelId="{FA173660-D176-420D-95DA-9B24168CEBA5}" type="presParOf" srcId="{EEF8DC9F-A7A5-4737-B6D7-71E40C66DD58}" destId="{FF492FC4-140E-4C27-B8F3-3E7AF3B20685}" srcOrd="2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FC295B7D-F857-4701-B417-8CA96F6BFFDD}" type="doc">
      <dgm:prSet loTypeId="urn:microsoft.com/office/officeart/2005/8/layout/hChevron3" loCatId="process" qsTypeId="urn:microsoft.com/office/officeart/2005/8/quickstyle/simple1" qsCatId="simple" csTypeId="urn:microsoft.com/office/officeart/2005/8/colors/accent1_4" csCatId="accent1" phldr="1"/>
      <dgm:spPr/>
    </dgm:pt>
    <dgm:pt modelId="{A53DFD9A-4278-42D6-A32D-23B9914C2737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>
              <a:solidFill>
                <a:schemeClr val="bg1">
                  <a:lumMod val="85000"/>
                </a:schemeClr>
              </a:solidFill>
            </a:rPr>
            <a:t>Jan</a:t>
          </a:r>
        </a:p>
      </dgm:t>
    </dgm:pt>
    <dgm:pt modelId="{C30E3508-CF4C-4B17-87E1-A6BED450C84C}" type="parTrans" cxnId="{9568A93D-94F9-4966-83A3-C88683C6E04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F913E39C-95FC-4BA4-ACCA-4E5091F2C97B}" type="sibTrans" cxnId="{9568A93D-94F9-4966-83A3-C88683C6E04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63EB9005-20D6-42A4-8C4A-7C18913D6523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Feb</a:t>
          </a:r>
          <a:endParaRPr lang="nb-NO" sz="1600">
            <a:solidFill>
              <a:schemeClr val="tx1"/>
            </a:solidFill>
          </a:endParaRPr>
        </a:p>
      </dgm:t>
    </dgm:pt>
    <dgm:pt modelId="{25DDDD1A-08A4-409F-999B-57C5FB8AB6CB}" type="parTrans" cxnId="{E8394DAF-9D12-4B0A-896C-47AF58C463C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3C1E42E-ED5E-4F1D-A7CD-F9740C80DF3F}" type="sibTrans" cxnId="{E8394DAF-9D12-4B0A-896C-47AF58C463C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8CE7B1C9-0BD2-4462-B32D-4D31702C3E76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Mars</a:t>
          </a:r>
        </a:p>
      </dgm:t>
    </dgm:pt>
    <dgm:pt modelId="{2AC01C37-0939-40DE-8923-1C6C6C2610E7}" type="parTrans" cxnId="{08293CC0-CF60-46A6-9A8B-B99354DEC368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1939085-C2EE-49FB-A072-89E3A38B12AF}" type="sibTrans" cxnId="{08293CC0-CF60-46A6-9A8B-B99354DEC368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0D86B1FE-AC4F-4FD1-AA3C-F1D7B07E3891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April</a:t>
          </a:r>
        </a:p>
      </dgm:t>
    </dgm:pt>
    <dgm:pt modelId="{9786C803-8CC5-49F3-B443-4FD751F8C0F2}" type="parTrans" cxnId="{CF3A7C11-1D1F-4917-8C1E-F7A6905A066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D0EB1B8E-3D62-436B-81AE-22CFF478D2F7}" type="sibTrans" cxnId="{CF3A7C11-1D1F-4917-8C1E-F7A6905A066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7DD039A-6E5A-40AF-8817-8BECD499E1D2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Mai</a:t>
          </a:r>
        </a:p>
      </dgm:t>
    </dgm:pt>
    <dgm:pt modelId="{2DE9AB6D-5608-41E5-8EE2-B72BA286AE64}" type="parTrans" cxnId="{CF24E739-EC0D-440F-A384-F98ECBC87BE3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3E85B2B3-1759-4FE0-91CD-CCF04ACFDEA0}" type="sibTrans" cxnId="{CF24E739-EC0D-440F-A384-F98ECBC87BE3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4109414-31C0-4083-AFBC-0DA7D9E02CA5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 err="1">
              <a:solidFill>
                <a:schemeClr val="bg1">
                  <a:lumMod val="85000"/>
                </a:schemeClr>
              </a:solidFill>
            </a:rPr>
            <a:t>Jun</a:t>
          </a:r>
          <a:endParaRPr lang="nb-NO" sz="1600">
            <a:solidFill>
              <a:schemeClr val="bg1">
                <a:lumMod val="85000"/>
              </a:schemeClr>
            </a:solidFill>
          </a:endParaRPr>
        </a:p>
      </dgm:t>
    </dgm:pt>
    <dgm:pt modelId="{306C2B99-300B-44C4-B366-86CC00129EE1}" type="parTrans" cxnId="{6668B6E7-1C13-4DC7-A4D8-4E774C5F79A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D57F9888-59DD-4B8B-8001-885D841C0BC9}" type="sibTrans" cxnId="{6668B6E7-1C13-4DC7-A4D8-4E774C5F79A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901B503-3290-41FB-B3F8-0B587FC33E3B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>
              <a:solidFill>
                <a:schemeClr val="bg1">
                  <a:lumMod val="85000"/>
                </a:schemeClr>
              </a:solidFill>
            </a:rPr>
            <a:t>Jul</a:t>
          </a:r>
        </a:p>
      </dgm:t>
    </dgm:pt>
    <dgm:pt modelId="{6D4F6CFE-717B-46CE-9876-7C904312C07F}" type="parTrans" cxnId="{56B06ACF-81EE-47CE-909C-8309BA40628F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57454D4F-3791-4ABF-A2BC-076FD55B9CF3}" type="sibTrans" cxnId="{56B06ACF-81EE-47CE-909C-8309BA40628F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6ADA94F4-E964-464C-B81A-A5997DE1D7EE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 err="1">
              <a:solidFill>
                <a:schemeClr val="bg1">
                  <a:lumMod val="85000"/>
                </a:schemeClr>
              </a:solidFill>
            </a:rPr>
            <a:t>Aug</a:t>
          </a:r>
          <a:endParaRPr lang="nb-NO" sz="1600">
            <a:solidFill>
              <a:schemeClr val="bg1">
                <a:lumMod val="85000"/>
              </a:schemeClr>
            </a:solidFill>
          </a:endParaRPr>
        </a:p>
      </dgm:t>
    </dgm:pt>
    <dgm:pt modelId="{B8F8B226-D0E3-4D08-B384-255160124048}" type="parTrans" cxnId="{B2C53778-00A3-4ECB-B45E-D9A80FFF443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75DFA3E5-F7D5-4357-B890-DAE32F1ECAD2}" type="sibTrans" cxnId="{B2C53778-00A3-4ECB-B45E-D9A80FFF443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BE09310-B4AE-4B0A-A01F-157614B446AF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 err="1">
              <a:solidFill>
                <a:schemeClr val="bg1">
                  <a:lumMod val="85000"/>
                </a:schemeClr>
              </a:solidFill>
            </a:rPr>
            <a:t>Sept</a:t>
          </a:r>
          <a:endParaRPr lang="nb-NO" sz="1600">
            <a:solidFill>
              <a:schemeClr val="bg1">
                <a:lumMod val="85000"/>
              </a:schemeClr>
            </a:solidFill>
          </a:endParaRPr>
        </a:p>
      </dgm:t>
    </dgm:pt>
    <dgm:pt modelId="{58093D7E-E63E-4895-8BC2-606D5BC6CEFF}" type="parTrans" cxnId="{06E96791-C78B-4A04-B271-12030991727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DF7D30C-FA32-432A-953F-93CD0BF53FE5}" type="sibTrans" cxnId="{06E96791-C78B-4A04-B271-12030991727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59C00689-6E1F-4D4F-B61B-93E45C162884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 err="1">
              <a:solidFill>
                <a:schemeClr val="bg1">
                  <a:lumMod val="85000"/>
                </a:schemeClr>
              </a:solidFill>
            </a:rPr>
            <a:t>Okt</a:t>
          </a:r>
          <a:endParaRPr lang="nb-NO" sz="1600">
            <a:solidFill>
              <a:schemeClr val="bg1">
                <a:lumMod val="85000"/>
              </a:schemeClr>
            </a:solidFill>
          </a:endParaRPr>
        </a:p>
      </dgm:t>
    </dgm:pt>
    <dgm:pt modelId="{630BEF09-07F7-4558-A51F-C17A34876320}" type="parTrans" cxnId="{2575DBF3-3FAC-4B73-A1A1-483876B34AE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A7649572-3E4D-4ECA-ADCC-1D212F68A805}" type="sibTrans" cxnId="{2575DBF3-3FAC-4B73-A1A1-483876B34AE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12382D85-ACFD-490F-888C-2114F27C4BF7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>
              <a:solidFill>
                <a:schemeClr val="bg1">
                  <a:lumMod val="85000"/>
                </a:schemeClr>
              </a:solidFill>
            </a:rPr>
            <a:t>Nov</a:t>
          </a:r>
        </a:p>
      </dgm:t>
    </dgm:pt>
    <dgm:pt modelId="{A7AB244B-E027-42E7-B6E3-5D858C1419CA}" type="parTrans" cxnId="{3A57C3D0-2FDA-4BF1-89DB-CD5741083A75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922AC5B-B516-4927-B774-10F116070995}" type="sibTrans" cxnId="{3A57C3D0-2FDA-4BF1-89DB-CD5741083A75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8EC9E499-5048-4496-9520-D91A43C8118D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>
              <a:solidFill>
                <a:schemeClr val="bg1">
                  <a:lumMod val="85000"/>
                </a:schemeClr>
              </a:solidFill>
            </a:rPr>
            <a:t>Des</a:t>
          </a:r>
        </a:p>
      </dgm:t>
    </dgm:pt>
    <dgm:pt modelId="{E076673E-F3DE-4CFA-A9E3-4364A71E63AB}" type="parTrans" cxnId="{4B114B18-FFCC-4E34-BC14-A8A8466BF32B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36EEDC4-3639-4C95-9876-E0FE934E62ED}" type="sibTrans" cxnId="{4B114B18-FFCC-4E34-BC14-A8A8466BF32B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EEF8DC9F-A7A5-4737-B6D7-71E40C66DD58}" type="pres">
      <dgm:prSet presAssocID="{FC295B7D-F857-4701-B417-8CA96F6BFFDD}" presName="Name0" presStyleCnt="0">
        <dgm:presLayoutVars>
          <dgm:dir/>
          <dgm:resizeHandles val="exact"/>
        </dgm:presLayoutVars>
      </dgm:prSet>
      <dgm:spPr/>
    </dgm:pt>
    <dgm:pt modelId="{1CA2016E-9240-4939-AC74-35F63662D3AC}" type="pres">
      <dgm:prSet presAssocID="{A53DFD9A-4278-42D6-A32D-23B9914C2737}" presName="parTxOnly" presStyleLbl="node1" presStyleIdx="0" presStyleCnt="12" custScaleY="72955">
        <dgm:presLayoutVars>
          <dgm:bulletEnabled val="1"/>
        </dgm:presLayoutVars>
      </dgm:prSet>
      <dgm:spPr/>
    </dgm:pt>
    <dgm:pt modelId="{7E86FA99-36AC-4EDE-8AA2-3C83B26A6D7D}" type="pres">
      <dgm:prSet presAssocID="{F913E39C-95FC-4BA4-ACCA-4E5091F2C97B}" presName="parSpace" presStyleCnt="0"/>
      <dgm:spPr/>
    </dgm:pt>
    <dgm:pt modelId="{8B79A64D-9D22-4A79-A270-B7ADD22155D2}" type="pres">
      <dgm:prSet presAssocID="{63EB9005-20D6-42A4-8C4A-7C18913D6523}" presName="parTxOnly" presStyleLbl="node1" presStyleIdx="1" presStyleCnt="12" custScaleY="72955">
        <dgm:presLayoutVars>
          <dgm:bulletEnabled val="1"/>
        </dgm:presLayoutVars>
      </dgm:prSet>
      <dgm:spPr/>
    </dgm:pt>
    <dgm:pt modelId="{67F152AC-FF39-4A5D-908E-235C1FA0FE5A}" type="pres">
      <dgm:prSet presAssocID="{93C1E42E-ED5E-4F1D-A7CD-F9740C80DF3F}" presName="parSpace" presStyleCnt="0"/>
      <dgm:spPr/>
    </dgm:pt>
    <dgm:pt modelId="{094020EB-3143-4343-84FC-A8D8663415FA}" type="pres">
      <dgm:prSet presAssocID="{8CE7B1C9-0BD2-4462-B32D-4D31702C3E76}" presName="parTxOnly" presStyleLbl="node1" presStyleIdx="2" presStyleCnt="12" custScaleY="72955">
        <dgm:presLayoutVars>
          <dgm:bulletEnabled val="1"/>
        </dgm:presLayoutVars>
      </dgm:prSet>
      <dgm:spPr/>
    </dgm:pt>
    <dgm:pt modelId="{2F21F380-3DEB-49B9-802E-D96C60D6DEC0}" type="pres">
      <dgm:prSet presAssocID="{B1939085-C2EE-49FB-A072-89E3A38B12AF}" presName="parSpace" presStyleCnt="0"/>
      <dgm:spPr/>
    </dgm:pt>
    <dgm:pt modelId="{ECD0462F-FC86-43EC-9EE1-F98A4E3685E5}" type="pres">
      <dgm:prSet presAssocID="{0D86B1FE-AC4F-4FD1-AA3C-F1D7B07E3891}" presName="parTxOnly" presStyleLbl="node1" presStyleIdx="3" presStyleCnt="12" custScaleY="72955">
        <dgm:presLayoutVars>
          <dgm:bulletEnabled val="1"/>
        </dgm:presLayoutVars>
      </dgm:prSet>
      <dgm:spPr/>
    </dgm:pt>
    <dgm:pt modelId="{14C6B0AC-EAE3-41F4-A78F-8BCEF6B2062C}" type="pres">
      <dgm:prSet presAssocID="{D0EB1B8E-3D62-436B-81AE-22CFF478D2F7}" presName="parSpace" presStyleCnt="0"/>
      <dgm:spPr/>
    </dgm:pt>
    <dgm:pt modelId="{D851844B-5F9B-474F-BF45-9F1571037C6B}" type="pres">
      <dgm:prSet presAssocID="{97DD039A-6E5A-40AF-8817-8BECD499E1D2}" presName="parTxOnly" presStyleLbl="node1" presStyleIdx="4" presStyleCnt="12" custScaleY="72955">
        <dgm:presLayoutVars>
          <dgm:bulletEnabled val="1"/>
        </dgm:presLayoutVars>
      </dgm:prSet>
      <dgm:spPr/>
    </dgm:pt>
    <dgm:pt modelId="{D6B97D54-86A1-4294-8AE2-BB16CFC89823}" type="pres">
      <dgm:prSet presAssocID="{3E85B2B3-1759-4FE0-91CD-CCF04ACFDEA0}" presName="parSpace" presStyleCnt="0"/>
      <dgm:spPr/>
    </dgm:pt>
    <dgm:pt modelId="{21EE003F-A6AE-47D0-8F30-7E500E2B43C5}" type="pres">
      <dgm:prSet presAssocID="{C4109414-31C0-4083-AFBC-0DA7D9E02CA5}" presName="parTxOnly" presStyleLbl="node1" presStyleIdx="5" presStyleCnt="12" custScaleY="72955">
        <dgm:presLayoutVars>
          <dgm:bulletEnabled val="1"/>
        </dgm:presLayoutVars>
      </dgm:prSet>
      <dgm:spPr/>
    </dgm:pt>
    <dgm:pt modelId="{73780782-3044-4E1D-80A1-2A421F143FCB}" type="pres">
      <dgm:prSet presAssocID="{D57F9888-59DD-4B8B-8001-885D841C0BC9}" presName="parSpace" presStyleCnt="0"/>
      <dgm:spPr/>
    </dgm:pt>
    <dgm:pt modelId="{6B98CBCD-E89E-4180-8377-1128BB900E75}" type="pres">
      <dgm:prSet presAssocID="{B901B503-3290-41FB-B3F8-0B587FC33E3B}" presName="parTxOnly" presStyleLbl="node1" presStyleIdx="6" presStyleCnt="12" custScaleY="72955">
        <dgm:presLayoutVars>
          <dgm:bulletEnabled val="1"/>
        </dgm:presLayoutVars>
      </dgm:prSet>
      <dgm:spPr/>
    </dgm:pt>
    <dgm:pt modelId="{7532E259-5AF4-4BE9-8827-7DA286DF1CEB}" type="pres">
      <dgm:prSet presAssocID="{57454D4F-3791-4ABF-A2BC-076FD55B9CF3}" presName="parSpace" presStyleCnt="0"/>
      <dgm:spPr/>
    </dgm:pt>
    <dgm:pt modelId="{AF814335-286D-4A63-9B4D-2D3466461DDB}" type="pres">
      <dgm:prSet presAssocID="{6ADA94F4-E964-464C-B81A-A5997DE1D7EE}" presName="parTxOnly" presStyleLbl="node1" presStyleIdx="7" presStyleCnt="12" custScaleY="72955">
        <dgm:presLayoutVars>
          <dgm:bulletEnabled val="1"/>
        </dgm:presLayoutVars>
      </dgm:prSet>
      <dgm:spPr/>
    </dgm:pt>
    <dgm:pt modelId="{9E772E0C-A598-4235-BC54-43B82487BE6B}" type="pres">
      <dgm:prSet presAssocID="{75DFA3E5-F7D5-4357-B890-DAE32F1ECAD2}" presName="parSpace" presStyleCnt="0"/>
      <dgm:spPr/>
    </dgm:pt>
    <dgm:pt modelId="{A10BF886-FB56-4505-A18A-A6E570242149}" type="pres">
      <dgm:prSet presAssocID="{BBE09310-B4AE-4B0A-A01F-157614B446AF}" presName="parTxOnly" presStyleLbl="node1" presStyleIdx="8" presStyleCnt="12" custScaleY="72955">
        <dgm:presLayoutVars>
          <dgm:bulletEnabled val="1"/>
        </dgm:presLayoutVars>
      </dgm:prSet>
      <dgm:spPr/>
    </dgm:pt>
    <dgm:pt modelId="{B1B1D131-C83B-45DF-87BB-551769A4FBC2}" type="pres">
      <dgm:prSet presAssocID="{CDF7D30C-FA32-432A-953F-93CD0BF53FE5}" presName="parSpace" presStyleCnt="0"/>
      <dgm:spPr/>
    </dgm:pt>
    <dgm:pt modelId="{395877A3-2998-45B1-8766-D05006EF8E29}" type="pres">
      <dgm:prSet presAssocID="{59C00689-6E1F-4D4F-B61B-93E45C162884}" presName="parTxOnly" presStyleLbl="node1" presStyleIdx="9" presStyleCnt="12" custScaleY="72955">
        <dgm:presLayoutVars>
          <dgm:bulletEnabled val="1"/>
        </dgm:presLayoutVars>
      </dgm:prSet>
      <dgm:spPr/>
    </dgm:pt>
    <dgm:pt modelId="{E51B4D1F-BE70-4027-A953-1181740A4BB8}" type="pres">
      <dgm:prSet presAssocID="{A7649572-3E4D-4ECA-ADCC-1D212F68A805}" presName="parSpace" presStyleCnt="0"/>
      <dgm:spPr/>
    </dgm:pt>
    <dgm:pt modelId="{A379D365-20DF-4073-A1AB-BA299F9B590E}" type="pres">
      <dgm:prSet presAssocID="{12382D85-ACFD-490F-888C-2114F27C4BF7}" presName="parTxOnly" presStyleLbl="node1" presStyleIdx="10" presStyleCnt="12" custScaleY="72955">
        <dgm:presLayoutVars>
          <dgm:bulletEnabled val="1"/>
        </dgm:presLayoutVars>
      </dgm:prSet>
      <dgm:spPr/>
    </dgm:pt>
    <dgm:pt modelId="{90BD7D04-31E3-477D-8AA8-26AD80BB62E0}" type="pres">
      <dgm:prSet presAssocID="{9922AC5B-B516-4927-B774-10F116070995}" presName="parSpace" presStyleCnt="0"/>
      <dgm:spPr/>
    </dgm:pt>
    <dgm:pt modelId="{3ED65369-217E-4D49-9F64-4471C6F48357}" type="pres">
      <dgm:prSet presAssocID="{8EC9E499-5048-4496-9520-D91A43C8118D}" presName="parTxOnly" presStyleLbl="node1" presStyleIdx="11" presStyleCnt="12" custScaleY="72955">
        <dgm:presLayoutVars>
          <dgm:bulletEnabled val="1"/>
        </dgm:presLayoutVars>
      </dgm:prSet>
      <dgm:spPr/>
    </dgm:pt>
  </dgm:ptLst>
  <dgm:cxnLst>
    <dgm:cxn modelId="{FED5B103-1C66-4321-A002-4F6D451F46E1}" type="presOf" srcId="{97DD039A-6E5A-40AF-8817-8BECD499E1D2}" destId="{D851844B-5F9B-474F-BF45-9F1571037C6B}" srcOrd="0" destOrd="0" presId="urn:microsoft.com/office/officeart/2005/8/layout/hChevron3"/>
    <dgm:cxn modelId="{CF3A7C11-1D1F-4917-8C1E-F7A6905A066D}" srcId="{FC295B7D-F857-4701-B417-8CA96F6BFFDD}" destId="{0D86B1FE-AC4F-4FD1-AA3C-F1D7B07E3891}" srcOrd="3" destOrd="0" parTransId="{9786C803-8CC5-49F3-B443-4FD751F8C0F2}" sibTransId="{D0EB1B8E-3D62-436B-81AE-22CFF478D2F7}"/>
    <dgm:cxn modelId="{4B114B18-FFCC-4E34-BC14-A8A8466BF32B}" srcId="{FC295B7D-F857-4701-B417-8CA96F6BFFDD}" destId="{8EC9E499-5048-4496-9520-D91A43C8118D}" srcOrd="11" destOrd="0" parTransId="{E076673E-F3DE-4CFA-A9E3-4364A71E63AB}" sibTransId="{B36EEDC4-3639-4C95-9876-E0FE934E62ED}"/>
    <dgm:cxn modelId="{B0D30623-49E5-4E75-BDEE-C8BF368B313C}" type="presOf" srcId="{FC295B7D-F857-4701-B417-8CA96F6BFFDD}" destId="{EEF8DC9F-A7A5-4737-B6D7-71E40C66DD58}" srcOrd="0" destOrd="0" presId="urn:microsoft.com/office/officeart/2005/8/layout/hChevron3"/>
    <dgm:cxn modelId="{CF24E739-EC0D-440F-A384-F98ECBC87BE3}" srcId="{FC295B7D-F857-4701-B417-8CA96F6BFFDD}" destId="{97DD039A-6E5A-40AF-8817-8BECD499E1D2}" srcOrd="4" destOrd="0" parTransId="{2DE9AB6D-5608-41E5-8EE2-B72BA286AE64}" sibTransId="{3E85B2B3-1759-4FE0-91CD-CCF04ACFDEA0}"/>
    <dgm:cxn modelId="{9568A93D-94F9-4966-83A3-C88683C6E04D}" srcId="{FC295B7D-F857-4701-B417-8CA96F6BFFDD}" destId="{A53DFD9A-4278-42D6-A32D-23B9914C2737}" srcOrd="0" destOrd="0" parTransId="{C30E3508-CF4C-4B17-87E1-A6BED450C84C}" sibTransId="{F913E39C-95FC-4BA4-ACCA-4E5091F2C97B}"/>
    <dgm:cxn modelId="{06509E40-E1EE-451C-BA75-8C2693C07295}" type="presOf" srcId="{59C00689-6E1F-4D4F-B61B-93E45C162884}" destId="{395877A3-2998-45B1-8766-D05006EF8E29}" srcOrd="0" destOrd="0" presId="urn:microsoft.com/office/officeart/2005/8/layout/hChevron3"/>
    <dgm:cxn modelId="{614B1048-AD29-4587-A462-527E202C49A3}" type="presOf" srcId="{8CE7B1C9-0BD2-4462-B32D-4D31702C3E76}" destId="{094020EB-3143-4343-84FC-A8D8663415FA}" srcOrd="0" destOrd="0" presId="urn:microsoft.com/office/officeart/2005/8/layout/hChevron3"/>
    <dgm:cxn modelId="{0B37EC69-6685-4A2E-B930-CE41DCF5CB7B}" type="presOf" srcId="{0D86B1FE-AC4F-4FD1-AA3C-F1D7B07E3891}" destId="{ECD0462F-FC86-43EC-9EE1-F98A4E3685E5}" srcOrd="0" destOrd="0" presId="urn:microsoft.com/office/officeart/2005/8/layout/hChevron3"/>
    <dgm:cxn modelId="{7CBD5952-274C-45EF-8FAF-9CBC6A0E51D6}" type="presOf" srcId="{A53DFD9A-4278-42D6-A32D-23B9914C2737}" destId="{1CA2016E-9240-4939-AC74-35F63662D3AC}" srcOrd="0" destOrd="0" presId="urn:microsoft.com/office/officeart/2005/8/layout/hChevron3"/>
    <dgm:cxn modelId="{B2C53778-00A3-4ECB-B45E-D9A80FFF4430}" srcId="{FC295B7D-F857-4701-B417-8CA96F6BFFDD}" destId="{6ADA94F4-E964-464C-B81A-A5997DE1D7EE}" srcOrd="7" destOrd="0" parTransId="{B8F8B226-D0E3-4D08-B384-255160124048}" sibTransId="{75DFA3E5-F7D5-4357-B890-DAE32F1ECAD2}"/>
    <dgm:cxn modelId="{755D1F8B-CC6E-4B2E-8499-00ED7E1B81E1}" type="presOf" srcId="{C4109414-31C0-4083-AFBC-0DA7D9E02CA5}" destId="{21EE003F-A6AE-47D0-8F30-7E500E2B43C5}" srcOrd="0" destOrd="0" presId="urn:microsoft.com/office/officeart/2005/8/layout/hChevron3"/>
    <dgm:cxn modelId="{06E96791-C78B-4A04-B271-120309917277}" srcId="{FC295B7D-F857-4701-B417-8CA96F6BFFDD}" destId="{BBE09310-B4AE-4B0A-A01F-157614B446AF}" srcOrd="8" destOrd="0" parTransId="{58093D7E-E63E-4895-8BC2-606D5BC6CEFF}" sibTransId="{CDF7D30C-FA32-432A-953F-93CD0BF53FE5}"/>
    <dgm:cxn modelId="{05DF6F9B-635A-466C-A3E4-29E6C351B3A5}" type="presOf" srcId="{6ADA94F4-E964-464C-B81A-A5997DE1D7EE}" destId="{AF814335-286D-4A63-9B4D-2D3466461DDB}" srcOrd="0" destOrd="0" presId="urn:microsoft.com/office/officeart/2005/8/layout/hChevron3"/>
    <dgm:cxn modelId="{05F482A7-E4D3-4CE5-BBB0-FEBDDA1A0715}" type="presOf" srcId="{8EC9E499-5048-4496-9520-D91A43C8118D}" destId="{3ED65369-217E-4D49-9F64-4471C6F48357}" srcOrd="0" destOrd="0" presId="urn:microsoft.com/office/officeart/2005/8/layout/hChevron3"/>
    <dgm:cxn modelId="{E8394DAF-9D12-4B0A-896C-47AF58C463CD}" srcId="{FC295B7D-F857-4701-B417-8CA96F6BFFDD}" destId="{63EB9005-20D6-42A4-8C4A-7C18913D6523}" srcOrd="1" destOrd="0" parTransId="{25DDDD1A-08A4-409F-999B-57C5FB8AB6CB}" sibTransId="{93C1E42E-ED5E-4F1D-A7CD-F9740C80DF3F}"/>
    <dgm:cxn modelId="{61989EB0-1C4B-4BDD-B79D-B201D4A1D2E4}" type="presOf" srcId="{63EB9005-20D6-42A4-8C4A-7C18913D6523}" destId="{8B79A64D-9D22-4A79-A270-B7ADD22155D2}" srcOrd="0" destOrd="0" presId="urn:microsoft.com/office/officeart/2005/8/layout/hChevron3"/>
    <dgm:cxn modelId="{6B7121B2-1FEC-4832-A47B-0A99E724AC73}" type="presOf" srcId="{BBE09310-B4AE-4B0A-A01F-157614B446AF}" destId="{A10BF886-FB56-4505-A18A-A6E570242149}" srcOrd="0" destOrd="0" presId="urn:microsoft.com/office/officeart/2005/8/layout/hChevron3"/>
    <dgm:cxn modelId="{08293CC0-CF60-46A6-9A8B-B99354DEC368}" srcId="{FC295B7D-F857-4701-B417-8CA96F6BFFDD}" destId="{8CE7B1C9-0BD2-4462-B32D-4D31702C3E76}" srcOrd="2" destOrd="0" parTransId="{2AC01C37-0939-40DE-8923-1C6C6C2610E7}" sibTransId="{B1939085-C2EE-49FB-A072-89E3A38B12AF}"/>
    <dgm:cxn modelId="{15F2F4C3-F0C7-4093-8B53-BC515EE11E5A}" type="presOf" srcId="{12382D85-ACFD-490F-888C-2114F27C4BF7}" destId="{A379D365-20DF-4073-A1AB-BA299F9B590E}" srcOrd="0" destOrd="0" presId="urn:microsoft.com/office/officeart/2005/8/layout/hChevron3"/>
    <dgm:cxn modelId="{56B06ACF-81EE-47CE-909C-8309BA40628F}" srcId="{FC295B7D-F857-4701-B417-8CA96F6BFFDD}" destId="{B901B503-3290-41FB-B3F8-0B587FC33E3B}" srcOrd="6" destOrd="0" parTransId="{6D4F6CFE-717B-46CE-9876-7C904312C07F}" sibTransId="{57454D4F-3791-4ABF-A2BC-076FD55B9CF3}"/>
    <dgm:cxn modelId="{3A57C3D0-2FDA-4BF1-89DB-CD5741083A75}" srcId="{FC295B7D-F857-4701-B417-8CA96F6BFFDD}" destId="{12382D85-ACFD-490F-888C-2114F27C4BF7}" srcOrd="10" destOrd="0" parTransId="{A7AB244B-E027-42E7-B6E3-5D858C1419CA}" sibTransId="{9922AC5B-B516-4927-B774-10F116070995}"/>
    <dgm:cxn modelId="{60D978E0-411C-498F-B2BF-ED02726DC0B0}" type="presOf" srcId="{B901B503-3290-41FB-B3F8-0B587FC33E3B}" destId="{6B98CBCD-E89E-4180-8377-1128BB900E75}" srcOrd="0" destOrd="0" presId="urn:microsoft.com/office/officeart/2005/8/layout/hChevron3"/>
    <dgm:cxn modelId="{6668B6E7-1C13-4DC7-A4D8-4E774C5F79A0}" srcId="{FC295B7D-F857-4701-B417-8CA96F6BFFDD}" destId="{C4109414-31C0-4083-AFBC-0DA7D9E02CA5}" srcOrd="5" destOrd="0" parTransId="{306C2B99-300B-44C4-B366-86CC00129EE1}" sibTransId="{D57F9888-59DD-4B8B-8001-885D841C0BC9}"/>
    <dgm:cxn modelId="{2575DBF3-3FAC-4B73-A1A1-483876B34AE7}" srcId="{FC295B7D-F857-4701-B417-8CA96F6BFFDD}" destId="{59C00689-6E1F-4D4F-B61B-93E45C162884}" srcOrd="9" destOrd="0" parTransId="{630BEF09-07F7-4558-A51F-C17A34876320}" sibTransId="{A7649572-3E4D-4ECA-ADCC-1D212F68A805}"/>
    <dgm:cxn modelId="{BBC2CD05-BE99-4BE9-8B50-CF4D28022165}" type="presParOf" srcId="{EEF8DC9F-A7A5-4737-B6D7-71E40C66DD58}" destId="{1CA2016E-9240-4939-AC74-35F63662D3AC}" srcOrd="0" destOrd="0" presId="urn:microsoft.com/office/officeart/2005/8/layout/hChevron3"/>
    <dgm:cxn modelId="{F0203C37-E732-442F-AE19-E7F361B3A063}" type="presParOf" srcId="{EEF8DC9F-A7A5-4737-B6D7-71E40C66DD58}" destId="{7E86FA99-36AC-4EDE-8AA2-3C83B26A6D7D}" srcOrd="1" destOrd="0" presId="urn:microsoft.com/office/officeart/2005/8/layout/hChevron3"/>
    <dgm:cxn modelId="{51AD80D2-26AE-48FE-B3CE-1AF68A632878}" type="presParOf" srcId="{EEF8DC9F-A7A5-4737-B6D7-71E40C66DD58}" destId="{8B79A64D-9D22-4A79-A270-B7ADD22155D2}" srcOrd="2" destOrd="0" presId="urn:microsoft.com/office/officeart/2005/8/layout/hChevron3"/>
    <dgm:cxn modelId="{0E323538-6FB8-4338-A254-7DB778198979}" type="presParOf" srcId="{EEF8DC9F-A7A5-4737-B6D7-71E40C66DD58}" destId="{67F152AC-FF39-4A5D-908E-235C1FA0FE5A}" srcOrd="3" destOrd="0" presId="urn:microsoft.com/office/officeart/2005/8/layout/hChevron3"/>
    <dgm:cxn modelId="{CF604A35-25CE-41AE-8BBA-97D3100B12EB}" type="presParOf" srcId="{EEF8DC9F-A7A5-4737-B6D7-71E40C66DD58}" destId="{094020EB-3143-4343-84FC-A8D8663415FA}" srcOrd="4" destOrd="0" presId="urn:microsoft.com/office/officeart/2005/8/layout/hChevron3"/>
    <dgm:cxn modelId="{3691FD85-63F1-4177-A9A0-8F041A8F7F42}" type="presParOf" srcId="{EEF8DC9F-A7A5-4737-B6D7-71E40C66DD58}" destId="{2F21F380-3DEB-49B9-802E-D96C60D6DEC0}" srcOrd="5" destOrd="0" presId="urn:microsoft.com/office/officeart/2005/8/layout/hChevron3"/>
    <dgm:cxn modelId="{B825CE78-984A-4825-A9BC-67B4FC7FEDB7}" type="presParOf" srcId="{EEF8DC9F-A7A5-4737-B6D7-71E40C66DD58}" destId="{ECD0462F-FC86-43EC-9EE1-F98A4E3685E5}" srcOrd="6" destOrd="0" presId="urn:microsoft.com/office/officeart/2005/8/layout/hChevron3"/>
    <dgm:cxn modelId="{F0DEBCFF-B2C1-45D7-AE29-A6FEA349086B}" type="presParOf" srcId="{EEF8DC9F-A7A5-4737-B6D7-71E40C66DD58}" destId="{14C6B0AC-EAE3-41F4-A78F-8BCEF6B2062C}" srcOrd="7" destOrd="0" presId="urn:microsoft.com/office/officeart/2005/8/layout/hChevron3"/>
    <dgm:cxn modelId="{4F0B3AAF-122E-40B1-91AC-C866E6A33E0F}" type="presParOf" srcId="{EEF8DC9F-A7A5-4737-B6D7-71E40C66DD58}" destId="{D851844B-5F9B-474F-BF45-9F1571037C6B}" srcOrd="8" destOrd="0" presId="urn:microsoft.com/office/officeart/2005/8/layout/hChevron3"/>
    <dgm:cxn modelId="{7762C01C-8888-4205-940A-3890AEBAAD5A}" type="presParOf" srcId="{EEF8DC9F-A7A5-4737-B6D7-71E40C66DD58}" destId="{D6B97D54-86A1-4294-8AE2-BB16CFC89823}" srcOrd="9" destOrd="0" presId="urn:microsoft.com/office/officeart/2005/8/layout/hChevron3"/>
    <dgm:cxn modelId="{181D047A-7024-499E-8939-C89A8C16FF42}" type="presParOf" srcId="{EEF8DC9F-A7A5-4737-B6D7-71E40C66DD58}" destId="{21EE003F-A6AE-47D0-8F30-7E500E2B43C5}" srcOrd="10" destOrd="0" presId="urn:microsoft.com/office/officeart/2005/8/layout/hChevron3"/>
    <dgm:cxn modelId="{461D789A-B67E-46C0-B193-ED47E8316F31}" type="presParOf" srcId="{EEF8DC9F-A7A5-4737-B6D7-71E40C66DD58}" destId="{73780782-3044-4E1D-80A1-2A421F143FCB}" srcOrd="11" destOrd="0" presId="urn:microsoft.com/office/officeart/2005/8/layout/hChevron3"/>
    <dgm:cxn modelId="{C6BAF284-5307-41D5-A599-44957CD732B2}" type="presParOf" srcId="{EEF8DC9F-A7A5-4737-B6D7-71E40C66DD58}" destId="{6B98CBCD-E89E-4180-8377-1128BB900E75}" srcOrd="12" destOrd="0" presId="urn:microsoft.com/office/officeart/2005/8/layout/hChevron3"/>
    <dgm:cxn modelId="{352AE785-5171-4D3E-B6EF-3B22D2E2077E}" type="presParOf" srcId="{EEF8DC9F-A7A5-4737-B6D7-71E40C66DD58}" destId="{7532E259-5AF4-4BE9-8827-7DA286DF1CEB}" srcOrd="13" destOrd="0" presId="urn:microsoft.com/office/officeart/2005/8/layout/hChevron3"/>
    <dgm:cxn modelId="{10BA4780-6A9F-43FE-AF11-C848BCE0CC18}" type="presParOf" srcId="{EEF8DC9F-A7A5-4737-B6D7-71E40C66DD58}" destId="{AF814335-286D-4A63-9B4D-2D3466461DDB}" srcOrd="14" destOrd="0" presId="urn:microsoft.com/office/officeart/2005/8/layout/hChevron3"/>
    <dgm:cxn modelId="{D8EEA65A-A9AC-470F-8D3C-84D61D64504F}" type="presParOf" srcId="{EEF8DC9F-A7A5-4737-B6D7-71E40C66DD58}" destId="{9E772E0C-A598-4235-BC54-43B82487BE6B}" srcOrd="15" destOrd="0" presId="urn:microsoft.com/office/officeart/2005/8/layout/hChevron3"/>
    <dgm:cxn modelId="{2306827D-8A75-4C05-81CC-927CC5421D63}" type="presParOf" srcId="{EEF8DC9F-A7A5-4737-B6D7-71E40C66DD58}" destId="{A10BF886-FB56-4505-A18A-A6E570242149}" srcOrd="16" destOrd="0" presId="urn:microsoft.com/office/officeart/2005/8/layout/hChevron3"/>
    <dgm:cxn modelId="{8AC25B6D-A7AB-416B-934D-145C5A954D36}" type="presParOf" srcId="{EEF8DC9F-A7A5-4737-B6D7-71E40C66DD58}" destId="{B1B1D131-C83B-45DF-87BB-551769A4FBC2}" srcOrd="17" destOrd="0" presId="urn:microsoft.com/office/officeart/2005/8/layout/hChevron3"/>
    <dgm:cxn modelId="{45D29DDD-7576-4BF9-AA58-8D20A4231A26}" type="presParOf" srcId="{EEF8DC9F-A7A5-4737-B6D7-71E40C66DD58}" destId="{395877A3-2998-45B1-8766-D05006EF8E29}" srcOrd="18" destOrd="0" presId="urn:microsoft.com/office/officeart/2005/8/layout/hChevron3"/>
    <dgm:cxn modelId="{59D46CB9-123C-4B81-B0E3-37C9110DED65}" type="presParOf" srcId="{EEF8DC9F-A7A5-4737-B6D7-71E40C66DD58}" destId="{E51B4D1F-BE70-4027-A953-1181740A4BB8}" srcOrd="19" destOrd="0" presId="urn:microsoft.com/office/officeart/2005/8/layout/hChevron3"/>
    <dgm:cxn modelId="{16C2B860-76BD-4DAE-A2A2-8E257EB4D8BF}" type="presParOf" srcId="{EEF8DC9F-A7A5-4737-B6D7-71E40C66DD58}" destId="{A379D365-20DF-4073-A1AB-BA299F9B590E}" srcOrd="20" destOrd="0" presId="urn:microsoft.com/office/officeart/2005/8/layout/hChevron3"/>
    <dgm:cxn modelId="{DDE2C823-8978-4656-ACB5-1317E77F2F6D}" type="presParOf" srcId="{EEF8DC9F-A7A5-4737-B6D7-71E40C66DD58}" destId="{90BD7D04-31E3-477D-8AA8-26AD80BB62E0}" srcOrd="21" destOrd="0" presId="urn:microsoft.com/office/officeart/2005/8/layout/hChevron3"/>
    <dgm:cxn modelId="{F5824407-8719-47CE-91EF-DE0227EDDB67}" type="presParOf" srcId="{EEF8DC9F-A7A5-4737-B6D7-71E40C66DD58}" destId="{3ED65369-217E-4D49-9F64-4471C6F48357}" srcOrd="22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FC295B7D-F857-4701-B417-8CA96F6BFFDD}" type="doc">
      <dgm:prSet loTypeId="urn:microsoft.com/office/officeart/2005/8/layout/hChevron3" loCatId="process" qsTypeId="urn:microsoft.com/office/officeart/2005/8/quickstyle/simple1" qsCatId="simple" csTypeId="urn:microsoft.com/office/officeart/2005/8/colors/accent1_4" csCatId="accent1" phldr="1"/>
      <dgm:spPr/>
    </dgm:pt>
    <dgm:pt modelId="{A53DFD9A-4278-42D6-A32D-23B9914C2737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>
              <a:solidFill>
                <a:schemeClr val="bg1">
                  <a:lumMod val="75000"/>
                </a:schemeClr>
              </a:solidFill>
            </a:rPr>
            <a:t>Jan</a:t>
          </a:r>
        </a:p>
      </dgm:t>
    </dgm:pt>
    <dgm:pt modelId="{C30E3508-CF4C-4B17-87E1-A6BED450C84C}" type="parTrans" cxnId="{9568A93D-94F9-4966-83A3-C88683C6E04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F913E39C-95FC-4BA4-ACCA-4E5091F2C97B}" type="sibTrans" cxnId="{9568A93D-94F9-4966-83A3-C88683C6E04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63EB9005-20D6-42A4-8C4A-7C18913D6523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Feb</a:t>
          </a:r>
          <a:endParaRPr lang="nb-NO" sz="1600">
            <a:solidFill>
              <a:schemeClr val="tx1"/>
            </a:solidFill>
          </a:endParaRPr>
        </a:p>
      </dgm:t>
    </dgm:pt>
    <dgm:pt modelId="{25DDDD1A-08A4-409F-999B-57C5FB8AB6CB}" type="parTrans" cxnId="{E8394DAF-9D12-4B0A-896C-47AF58C463C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3C1E42E-ED5E-4F1D-A7CD-F9740C80DF3F}" type="sibTrans" cxnId="{E8394DAF-9D12-4B0A-896C-47AF58C463C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8CE7B1C9-0BD2-4462-B32D-4D31702C3E76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Mars</a:t>
          </a:r>
        </a:p>
      </dgm:t>
    </dgm:pt>
    <dgm:pt modelId="{2AC01C37-0939-40DE-8923-1C6C6C2610E7}" type="parTrans" cxnId="{08293CC0-CF60-46A6-9A8B-B99354DEC368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1939085-C2EE-49FB-A072-89E3A38B12AF}" type="sibTrans" cxnId="{08293CC0-CF60-46A6-9A8B-B99354DEC368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0D86B1FE-AC4F-4FD1-AA3C-F1D7B07E3891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April</a:t>
          </a:r>
        </a:p>
      </dgm:t>
    </dgm:pt>
    <dgm:pt modelId="{9786C803-8CC5-49F3-B443-4FD751F8C0F2}" type="parTrans" cxnId="{CF3A7C11-1D1F-4917-8C1E-F7A6905A066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D0EB1B8E-3D62-436B-81AE-22CFF478D2F7}" type="sibTrans" cxnId="{CF3A7C11-1D1F-4917-8C1E-F7A6905A066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7DD039A-6E5A-40AF-8817-8BECD499E1D2}">
      <dgm:prSet phldrT="[Text]" custT="1"/>
      <dgm:spPr>
        <a:solidFill>
          <a:srgbClr val="A3B3D0"/>
        </a:solidFill>
      </dgm:spPr>
      <dgm:t>
        <a:bodyPr/>
        <a:lstStyle/>
        <a:p>
          <a:r>
            <a:rPr lang="nb-NO" sz="1600">
              <a:solidFill>
                <a:schemeClr val="tx1"/>
              </a:solidFill>
            </a:rPr>
            <a:t>Mai</a:t>
          </a:r>
        </a:p>
      </dgm:t>
    </dgm:pt>
    <dgm:pt modelId="{2DE9AB6D-5608-41E5-8EE2-B72BA286AE64}" type="parTrans" cxnId="{CF24E739-EC0D-440F-A384-F98ECBC87BE3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3E85B2B3-1759-4FE0-91CD-CCF04ACFDEA0}" type="sibTrans" cxnId="{CF24E739-EC0D-440F-A384-F98ECBC87BE3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4109414-31C0-4083-AFBC-0DA7D9E02CA5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 err="1">
              <a:solidFill>
                <a:schemeClr val="bg1">
                  <a:lumMod val="75000"/>
                </a:schemeClr>
              </a:solidFill>
            </a:rPr>
            <a:t>Jun</a:t>
          </a:r>
          <a:endParaRPr lang="nb-NO" sz="1600">
            <a:solidFill>
              <a:schemeClr val="bg1">
                <a:lumMod val="75000"/>
              </a:schemeClr>
            </a:solidFill>
          </a:endParaRPr>
        </a:p>
      </dgm:t>
    </dgm:pt>
    <dgm:pt modelId="{306C2B99-300B-44C4-B366-86CC00129EE1}" type="parTrans" cxnId="{6668B6E7-1C13-4DC7-A4D8-4E774C5F79A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D57F9888-59DD-4B8B-8001-885D841C0BC9}" type="sibTrans" cxnId="{6668B6E7-1C13-4DC7-A4D8-4E774C5F79A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901B503-3290-41FB-B3F8-0B587FC33E3B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>
              <a:solidFill>
                <a:schemeClr val="bg1">
                  <a:lumMod val="75000"/>
                </a:schemeClr>
              </a:solidFill>
            </a:rPr>
            <a:t>Jul</a:t>
          </a:r>
        </a:p>
      </dgm:t>
    </dgm:pt>
    <dgm:pt modelId="{6D4F6CFE-717B-46CE-9876-7C904312C07F}" type="parTrans" cxnId="{56B06ACF-81EE-47CE-909C-8309BA40628F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57454D4F-3791-4ABF-A2BC-076FD55B9CF3}" type="sibTrans" cxnId="{56B06ACF-81EE-47CE-909C-8309BA40628F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6ADA94F4-E964-464C-B81A-A5997DE1D7EE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 err="1">
              <a:solidFill>
                <a:schemeClr val="bg1">
                  <a:lumMod val="75000"/>
                </a:schemeClr>
              </a:solidFill>
            </a:rPr>
            <a:t>Aug</a:t>
          </a:r>
          <a:endParaRPr lang="nb-NO" sz="1600">
            <a:solidFill>
              <a:schemeClr val="bg1">
                <a:lumMod val="75000"/>
              </a:schemeClr>
            </a:solidFill>
          </a:endParaRPr>
        </a:p>
      </dgm:t>
    </dgm:pt>
    <dgm:pt modelId="{B8F8B226-D0E3-4D08-B384-255160124048}" type="parTrans" cxnId="{B2C53778-00A3-4ECB-B45E-D9A80FFF443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75DFA3E5-F7D5-4357-B890-DAE32F1ECAD2}" type="sibTrans" cxnId="{B2C53778-00A3-4ECB-B45E-D9A80FFF443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BE09310-B4AE-4B0A-A01F-157614B446AF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 err="1">
              <a:solidFill>
                <a:schemeClr val="bg1">
                  <a:lumMod val="75000"/>
                </a:schemeClr>
              </a:solidFill>
            </a:rPr>
            <a:t>Sept</a:t>
          </a:r>
          <a:endParaRPr lang="nb-NO" sz="1600">
            <a:solidFill>
              <a:schemeClr val="bg1">
                <a:lumMod val="75000"/>
              </a:schemeClr>
            </a:solidFill>
          </a:endParaRPr>
        </a:p>
      </dgm:t>
    </dgm:pt>
    <dgm:pt modelId="{58093D7E-E63E-4895-8BC2-606D5BC6CEFF}" type="parTrans" cxnId="{06E96791-C78B-4A04-B271-12030991727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DF7D30C-FA32-432A-953F-93CD0BF53FE5}" type="sibTrans" cxnId="{06E96791-C78B-4A04-B271-12030991727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59C00689-6E1F-4D4F-B61B-93E45C162884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 err="1">
              <a:solidFill>
                <a:schemeClr val="bg1">
                  <a:lumMod val="75000"/>
                </a:schemeClr>
              </a:solidFill>
            </a:rPr>
            <a:t>Okt</a:t>
          </a:r>
          <a:endParaRPr lang="nb-NO" sz="1600">
            <a:solidFill>
              <a:schemeClr val="bg1">
                <a:lumMod val="75000"/>
              </a:schemeClr>
            </a:solidFill>
          </a:endParaRPr>
        </a:p>
      </dgm:t>
    </dgm:pt>
    <dgm:pt modelId="{630BEF09-07F7-4558-A51F-C17A34876320}" type="parTrans" cxnId="{2575DBF3-3FAC-4B73-A1A1-483876B34AE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A7649572-3E4D-4ECA-ADCC-1D212F68A805}" type="sibTrans" cxnId="{2575DBF3-3FAC-4B73-A1A1-483876B34AE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12382D85-ACFD-490F-888C-2114F27C4BF7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>
              <a:solidFill>
                <a:schemeClr val="bg1">
                  <a:lumMod val="75000"/>
                </a:schemeClr>
              </a:solidFill>
            </a:rPr>
            <a:t>Nov</a:t>
          </a:r>
        </a:p>
      </dgm:t>
    </dgm:pt>
    <dgm:pt modelId="{A7AB244B-E027-42E7-B6E3-5D858C1419CA}" type="parTrans" cxnId="{3A57C3D0-2FDA-4BF1-89DB-CD5741083A75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922AC5B-B516-4927-B774-10F116070995}" type="sibTrans" cxnId="{3A57C3D0-2FDA-4BF1-89DB-CD5741083A75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8EC9E499-5048-4496-9520-D91A43C8118D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>
              <a:solidFill>
                <a:schemeClr val="bg1">
                  <a:lumMod val="75000"/>
                </a:schemeClr>
              </a:solidFill>
            </a:rPr>
            <a:t>Des</a:t>
          </a:r>
        </a:p>
      </dgm:t>
    </dgm:pt>
    <dgm:pt modelId="{E076673E-F3DE-4CFA-A9E3-4364A71E63AB}" type="parTrans" cxnId="{4B114B18-FFCC-4E34-BC14-A8A8466BF32B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36EEDC4-3639-4C95-9876-E0FE934E62ED}" type="sibTrans" cxnId="{4B114B18-FFCC-4E34-BC14-A8A8466BF32B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1BBE3D0C-6B6F-4B3A-A712-A00526757103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>
              <a:solidFill>
                <a:schemeClr val="bg1">
                  <a:lumMod val="75000"/>
                </a:schemeClr>
              </a:solidFill>
            </a:rPr>
            <a:t>Jan</a:t>
          </a:r>
        </a:p>
      </dgm:t>
    </dgm:pt>
    <dgm:pt modelId="{8CA4EF54-DC83-45BA-BB4F-43A94C1BA681}" type="parTrans" cxnId="{A585E6BB-D089-4675-89FE-67D979360D74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AC54404-968E-47F7-A61A-1DA0B1A42840}" type="sibTrans" cxnId="{A585E6BB-D089-4675-89FE-67D979360D74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7C767CE-B71D-44DD-9F07-1172A1A708BB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 err="1">
              <a:solidFill>
                <a:schemeClr val="bg1">
                  <a:lumMod val="75000"/>
                </a:schemeClr>
              </a:solidFill>
            </a:rPr>
            <a:t>Feb</a:t>
          </a:r>
          <a:endParaRPr lang="nb-NO" sz="1600">
            <a:solidFill>
              <a:schemeClr val="bg1">
                <a:lumMod val="75000"/>
              </a:schemeClr>
            </a:solidFill>
          </a:endParaRPr>
        </a:p>
      </dgm:t>
    </dgm:pt>
    <dgm:pt modelId="{12F37BFB-21C4-4647-BE4A-FB4ADB1A7835}" type="parTrans" cxnId="{48224370-A21D-4159-8E3D-3AA4A5230E72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0DF525DA-6D96-4524-BFE8-E8A7C9CA5F2C}" type="sibTrans" cxnId="{48224370-A21D-4159-8E3D-3AA4A5230E72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EEF8DC9F-A7A5-4737-B6D7-71E40C66DD58}" type="pres">
      <dgm:prSet presAssocID="{FC295B7D-F857-4701-B417-8CA96F6BFFDD}" presName="Name0" presStyleCnt="0">
        <dgm:presLayoutVars>
          <dgm:dir/>
          <dgm:resizeHandles val="exact"/>
        </dgm:presLayoutVars>
      </dgm:prSet>
      <dgm:spPr/>
    </dgm:pt>
    <dgm:pt modelId="{1CA2016E-9240-4939-AC74-35F63662D3AC}" type="pres">
      <dgm:prSet presAssocID="{A53DFD9A-4278-42D6-A32D-23B9914C2737}" presName="parTxOnly" presStyleLbl="node1" presStyleIdx="0" presStyleCnt="14" custScaleY="72955">
        <dgm:presLayoutVars>
          <dgm:bulletEnabled val="1"/>
        </dgm:presLayoutVars>
      </dgm:prSet>
      <dgm:spPr/>
    </dgm:pt>
    <dgm:pt modelId="{7E86FA99-36AC-4EDE-8AA2-3C83B26A6D7D}" type="pres">
      <dgm:prSet presAssocID="{F913E39C-95FC-4BA4-ACCA-4E5091F2C97B}" presName="parSpace" presStyleCnt="0"/>
      <dgm:spPr/>
    </dgm:pt>
    <dgm:pt modelId="{8B79A64D-9D22-4A79-A270-B7ADD22155D2}" type="pres">
      <dgm:prSet presAssocID="{63EB9005-20D6-42A4-8C4A-7C18913D6523}" presName="parTxOnly" presStyleLbl="node1" presStyleIdx="1" presStyleCnt="14" custScaleY="72955">
        <dgm:presLayoutVars>
          <dgm:bulletEnabled val="1"/>
        </dgm:presLayoutVars>
      </dgm:prSet>
      <dgm:spPr/>
    </dgm:pt>
    <dgm:pt modelId="{67F152AC-FF39-4A5D-908E-235C1FA0FE5A}" type="pres">
      <dgm:prSet presAssocID="{93C1E42E-ED5E-4F1D-A7CD-F9740C80DF3F}" presName="parSpace" presStyleCnt="0"/>
      <dgm:spPr/>
    </dgm:pt>
    <dgm:pt modelId="{094020EB-3143-4343-84FC-A8D8663415FA}" type="pres">
      <dgm:prSet presAssocID="{8CE7B1C9-0BD2-4462-B32D-4D31702C3E76}" presName="parTxOnly" presStyleLbl="node1" presStyleIdx="2" presStyleCnt="14" custScaleY="72955">
        <dgm:presLayoutVars>
          <dgm:bulletEnabled val="1"/>
        </dgm:presLayoutVars>
      </dgm:prSet>
      <dgm:spPr/>
    </dgm:pt>
    <dgm:pt modelId="{2F21F380-3DEB-49B9-802E-D96C60D6DEC0}" type="pres">
      <dgm:prSet presAssocID="{B1939085-C2EE-49FB-A072-89E3A38B12AF}" presName="parSpace" presStyleCnt="0"/>
      <dgm:spPr/>
    </dgm:pt>
    <dgm:pt modelId="{ECD0462F-FC86-43EC-9EE1-F98A4E3685E5}" type="pres">
      <dgm:prSet presAssocID="{0D86B1FE-AC4F-4FD1-AA3C-F1D7B07E3891}" presName="parTxOnly" presStyleLbl="node1" presStyleIdx="3" presStyleCnt="14" custScaleY="72955">
        <dgm:presLayoutVars>
          <dgm:bulletEnabled val="1"/>
        </dgm:presLayoutVars>
      </dgm:prSet>
      <dgm:spPr/>
    </dgm:pt>
    <dgm:pt modelId="{14C6B0AC-EAE3-41F4-A78F-8BCEF6B2062C}" type="pres">
      <dgm:prSet presAssocID="{D0EB1B8E-3D62-436B-81AE-22CFF478D2F7}" presName="parSpace" presStyleCnt="0"/>
      <dgm:spPr/>
    </dgm:pt>
    <dgm:pt modelId="{D851844B-5F9B-474F-BF45-9F1571037C6B}" type="pres">
      <dgm:prSet presAssocID="{97DD039A-6E5A-40AF-8817-8BECD499E1D2}" presName="parTxOnly" presStyleLbl="node1" presStyleIdx="4" presStyleCnt="14" custScaleY="72955">
        <dgm:presLayoutVars>
          <dgm:bulletEnabled val="1"/>
        </dgm:presLayoutVars>
      </dgm:prSet>
      <dgm:spPr/>
    </dgm:pt>
    <dgm:pt modelId="{D6B97D54-86A1-4294-8AE2-BB16CFC89823}" type="pres">
      <dgm:prSet presAssocID="{3E85B2B3-1759-4FE0-91CD-CCF04ACFDEA0}" presName="parSpace" presStyleCnt="0"/>
      <dgm:spPr/>
    </dgm:pt>
    <dgm:pt modelId="{21EE003F-A6AE-47D0-8F30-7E500E2B43C5}" type="pres">
      <dgm:prSet presAssocID="{C4109414-31C0-4083-AFBC-0DA7D9E02CA5}" presName="parTxOnly" presStyleLbl="node1" presStyleIdx="5" presStyleCnt="14" custScaleY="72955">
        <dgm:presLayoutVars>
          <dgm:bulletEnabled val="1"/>
        </dgm:presLayoutVars>
      </dgm:prSet>
      <dgm:spPr/>
    </dgm:pt>
    <dgm:pt modelId="{73780782-3044-4E1D-80A1-2A421F143FCB}" type="pres">
      <dgm:prSet presAssocID="{D57F9888-59DD-4B8B-8001-885D841C0BC9}" presName="parSpace" presStyleCnt="0"/>
      <dgm:spPr/>
    </dgm:pt>
    <dgm:pt modelId="{6B98CBCD-E89E-4180-8377-1128BB900E75}" type="pres">
      <dgm:prSet presAssocID="{B901B503-3290-41FB-B3F8-0B587FC33E3B}" presName="parTxOnly" presStyleLbl="node1" presStyleIdx="6" presStyleCnt="14" custScaleY="72955">
        <dgm:presLayoutVars>
          <dgm:bulletEnabled val="1"/>
        </dgm:presLayoutVars>
      </dgm:prSet>
      <dgm:spPr/>
    </dgm:pt>
    <dgm:pt modelId="{7532E259-5AF4-4BE9-8827-7DA286DF1CEB}" type="pres">
      <dgm:prSet presAssocID="{57454D4F-3791-4ABF-A2BC-076FD55B9CF3}" presName="parSpace" presStyleCnt="0"/>
      <dgm:spPr/>
    </dgm:pt>
    <dgm:pt modelId="{AF814335-286D-4A63-9B4D-2D3466461DDB}" type="pres">
      <dgm:prSet presAssocID="{6ADA94F4-E964-464C-B81A-A5997DE1D7EE}" presName="parTxOnly" presStyleLbl="node1" presStyleIdx="7" presStyleCnt="14" custScaleY="72955">
        <dgm:presLayoutVars>
          <dgm:bulletEnabled val="1"/>
        </dgm:presLayoutVars>
      </dgm:prSet>
      <dgm:spPr/>
    </dgm:pt>
    <dgm:pt modelId="{9E772E0C-A598-4235-BC54-43B82487BE6B}" type="pres">
      <dgm:prSet presAssocID="{75DFA3E5-F7D5-4357-B890-DAE32F1ECAD2}" presName="parSpace" presStyleCnt="0"/>
      <dgm:spPr/>
    </dgm:pt>
    <dgm:pt modelId="{A10BF886-FB56-4505-A18A-A6E570242149}" type="pres">
      <dgm:prSet presAssocID="{BBE09310-B4AE-4B0A-A01F-157614B446AF}" presName="parTxOnly" presStyleLbl="node1" presStyleIdx="8" presStyleCnt="14" custScaleY="72955">
        <dgm:presLayoutVars>
          <dgm:bulletEnabled val="1"/>
        </dgm:presLayoutVars>
      </dgm:prSet>
      <dgm:spPr/>
    </dgm:pt>
    <dgm:pt modelId="{B1B1D131-C83B-45DF-87BB-551769A4FBC2}" type="pres">
      <dgm:prSet presAssocID="{CDF7D30C-FA32-432A-953F-93CD0BF53FE5}" presName="parSpace" presStyleCnt="0"/>
      <dgm:spPr/>
    </dgm:pt>
    <dgm:pt modelId="{395877A3-2998-45B1-8766-D05006EF8E29}" type="pres">
      <dgm:prSet presAssocID="{59C00689-6E1F-4D4F-B61B-93E45C162884}" presName="parTxOnly" presStyleLbl="node1" presStyleIdx="9" presStyleCnt="14" custScaleY="72955">
        <dgm:presLayoutVars>
          <dgm:bulletEnabled val="1"/>
        </dgm:presLayoutVars>
      </dgm:prSet>
      <dgm:spPr/>
    </dgm:pt>
    <dgm:pt modelId="{E51B4D1F-BE70-4027-A953-1181740A4BB8}" type="pres">
      <dgm:prSet presAssocID="{A7649572-3E4D-4ECA-ADCC-1D212F68A805}" presName="parSpace" presStyleCnt="0"/>
      <dgm:spPr/>
    </dgm:pt>
    <dgm:pt modelId="{A379D365-20DF-4073-A1AB-BA299F9B590E}" type="pres">
      <dgm:prSet presAssocID="{12382D85-ACFD-490F-888C-2114F27C4BF7}" presName="parTxOnly" presStyleLbl="node1" presStyleIdx="10" presStyleCnt="14" custScaleY="72955">
        <dgm:presLayoutVars>
          <dgm:bulletEnabled val="1"/>
        </dgm:presLayoutVars>
      </dgm:prSet>
      <dgm:spPr/>
    </dgm:pt>
    <dgm:pt modelId="{90BD7D04-31E3-477D-8AA8-26AD80BB62E0}" type="pres">
      <dgm:prSet presAssocID="{9922AC5B-B516-4927-B774-10F116070995}" presName="parSpace" presStyleCnt="0"/>
      <dgm:spPr/>
    </dgm:pt>
    <dgm:pt modelId="{3ED65369-217E-4D49-9F64-4471C6F48357}" type="pres">
      <dgm:prSet presAssocID="{8EC9E499-5048-4496-9520-D91A43C8118D}" presName="parTxOnly" presStyleLbl="node1" presStyleIdx="11" presStyleCnt="14" custScaleY="72955">
        <dgm:presLayoutVars>
          <dgm:bulletEnabled val="1"/>
        </dgm:presLayoutVars>
      </dgm:prSet>
      <dgm:spPr/>
    </dgm:pt>
    <dgm:pt modelId="{1E8306B6-1370-4444-B39B-692DFBDC6CFD}" type="pres">
      <dgm:prSet presAssocID="{B36EEDC4-3639-4C95-9876-E0FE934E62ED}" presName="parSpace" presStyleCnt="0"/>
      <dgm:spPr/>
    </dgm:pt>
    <dgm:pt modelId="{2D49D640-C7D1-4468-B187-B2874A901B0B}" type="pres">
      <dgm:prSet presAssocID="{1BBE3D0C-6B6F-4B3A-A712-A00526757103}" presName="parTxOnly" presStyleLbl="node1" presStyleIdx="12" presStyleCnt="14" custScaleY="72955">
        <dgm:presLayoutVars>
          <dgm:bulletEnabled val="1"/>
        </dgm:presLayoutVars>
      </dgm:prSet>
      <dgm:spPr/>
    </dgm:pt>
    <dgm:pt modelId="{BB666EE6-0491-4B9A-A011-5CC94620A38F}" type="pres">
      <dgm:prSet presAssocID="{CAC54404-968E-47F7-A61A-1DA0B1A42840}" presName="parSpace" presStyleCnt="0"/>
      <dgm:spPr/>
    </dgm:pt>
    <dgm:pt modelId="{FF492FC4-140E-4C27-B8F3-3E7AF3B20685}" type="pres">
      <dgm:prSet presAssocID="{C7C767CE-B71D-44DD-9F07-1172A1A708BB}" presName="parTxOnly" presStyleLbl="node1" presStyleIdx="13" presStyleCnt="14" custScaleY="72955">
        <dgm:presLayoutVars>
          <dgm:bulletEnabled val="1"/>
        </dgm:presLayoutVars>
      </dgm:prSet>
      <dgm:spPr/>
    </dgm:pt>
  </dgm:ptLst>
  <dgm:cxnLst>
    <dgm:cxn modelId="{FED5B103-1C66-4321-A002-4F6D451F46E1}" type="presOf" srcId="{97DD039A-6E5A-40AF-8817-8BECD499E1D2}" destId="{D851844B-5F9B-474F-BF45-9F1571037C6B}" srcOrd="0" destOrd="0" presId="urn:microsoft.com/office/officeart/2005/8/layout/hChevron3"/>
    <dgm:cxn modelId="{FDB73E04-4643-4051-B61F-32206937C126}" type="presOf" srcId="{1BBE3D0C-6B6F-4B3A-A712-A00526757103}" destId="{2D49D640-C7D1-4468-B187-B2874A901B0B}" srcOrd="0" destOrd="0" presId="urn:microsoft.com/office/officeart/2005/8/layout/hChevron3"/>
    <dgm:cxn modelId="{CF3A7C11-1D1F-4917-8C1E-F7A6905A066D}" srcId="{FC295B7D-F857-4701-B417-8CA96F6BFFDD}" destId="{0D86B1FE-AC4F-4FD1-AA3C-F1D7B07E3891}" srcOrd="3" destOrd="0" parTransId="{9786C803-8CC5-49F3-B443-4FD751F8C0F2}" sibTransId="{D0EB1B8E-3D62-436B-81AE-22CFF478D2F7}"/>
    <dgm:cxn modelId="{4B114B18-FFCC-4E34-BC14-A8A8466BF32B}" srcId="{FC295B7D-F857-4701-B417-8CA96F6BFFDD}" destId="{8EC9E499-5048-4496-9520-D91A43C8118D}" srcOrd="11" destOrd="0" parTransId="{E076673E-F3DE-4CFA-A9E3-4364A71E63AB}" sibTransId="{B36EEDC4-3639-4C95-9876-E0FE934E62ED}"/>
    <dgm:cxn modelId="{B0D30623-49E5-4E75-BDEE-C8BF368B313C}" type="presOf" srcId="{FC295B7D-F857-4701-B417-8CA96F6BFFDD}" destId="{EEF8DC9F-A7A5-4737-B6D7-71E40C66DD58}" srcOrd="0" destOrd="0" presId="urn:microsoft.com/office/officeart/2005/8/layout/hChevron3"/>
    <dgm:cxn modelId="{CF24E739-EC0D-440F-A384-F98ECBC87BE3}" srcId="{FC295B7D-F857-4701-B417-8CA96F6BFFDD}" destId="{97DD039A-6E5A-40AF-8817-8BECD499E1D2}" srcOrd="4" destOrd="0" parTransId="{2DE9AB6D-5608-41E5-8EE2-B72BA286AE64}" sibTransId="{3E85B2B3-1759-4FE0-91CD-CCF04ACFDEA0}"/>
    <dgm:cxn modelId="{9568A93D-94F9-4966-83A3-C88683C6E04D}" srcId="{FC295B7D-F857-4701-B417-8CA96F6BFFDD}" destId="{A53DFD9A-4278-42D6-A32D-23B9914C2737}" srcOrd="0" destOrd="0" parTransId="{C30E3508-CF4C-4B17-87E1-A6BED450C84C}" sibTransId="{F913E39C-95FC-4BA4-ACCA-4E5091F2C97B}"/>
    <dgm:cxn modelId="{06509E40-E1EE-451C-BA75-8C2693C07295}" type="presOf" srcId="{59C00689-6E1F-4D4F-B61B-93E45C162884}" destId="{395877A3-2998-45B1-8766-D05006EF8E29}" srcOrd="0" destOrd="0" presId="urn:microsoft.com/office/officeart/2005/8/layout/hChevron3"/>
    <dgm:cxn modelId="{614B1048-AD29-4587-A462-527E202C49A3}" type="presOf" srcId="{8CE7B1C9-0BD2-4462-B32D-4D31702C3E76}" destId="{094020EB-3143-4343-84FC-A8D8663415FA}" srcOrd="0" destOrd="0" presId="urn:microsoft.com/office/officeart/2005/8/layout/hChevron3"/>
    <dgm:cxn modelId="{0B37EC69-6685-4A2E-B930-CE41DCF5CB7B}" type="presOf" srcId="{0D86B1FE-AC4F-4FD1-AA3C-F1D7B07E3891}" destId="{ECD0462F-FC86-43EC-9EE1-F98A4E3685E5}" srcOrd="0" destOrd="0" presId="urn:microsoft.com/office/officeart/2005/8/layout/hChevron3"/>
    <dgm:cxn modelId="{48224370-A21D-4159-8E3D-3AA4A5230E72}" srcId="{FC295B7D-F857-4701-B417-8CA96F6BFFDD}" destId="{C7C767CE-B71D-44DD-9F07-1172A1A708BB}" srcOrd="13" destOrd="0" parTransId="{12F37BFB-21C4-4647-BE4A-FB4ADB1A7835}" sibTransId="{0DF525DA-6D96-4524-BFE8-E8A7C9CA5F2C}"/>
    <dgm:cxn modelId="{7CBD5952-274C-45EF-8FAF-9CBC6A0E51D6}" type="presOf" srcId="{A53DFD9A-4278-42D6-A32D-23B9914C2737}" destId="{1CA2016E-9240-4939-AC74-35F63662D3AC}" srcOrd="0" destOrd="0" presId="urn:microsoft.com/office/officeart/2005/8/layout/hChevron3"/>
    <dgm:cxn modelId="{B2C53778-00A3-4ECB-B45E-D9A80FFF4430}" srcId="{FC295B7D-F857-4701-B417-8CA96F6BFFDD}" destId="{6ADA94F4-E964-464C-B81A-A5997DE1D7EE}" srcOrd="7" destOrd="0" parTransId="{B8F8B226-D0E3-4D08-B384-255160124048}" sibTransId="{75DFA3E5-F7D5-4357-B890-DAE32F1ECAD2}"/>
    <dgm:cxn modelId="{755D1F8B-CC6E-4B2E-8499-00ED7E1B81E1}" type="presOf" srcId="{C4109414-31C0-4083-AFBC-0DA7D9E02CA5}" destId="{21EE003F-A6AE-47D0-8F30-7E500E2B43C5}" srcOrd="0" destOrd="0" presId="urn:microsoft.com/office/officeart/2005/8/layout/hChevron3"/>
    <dgm:cxn modelId="{06E96791-C78B-4A04-B271-120309917277}" srcId="{FC295B7D-F857-4701-B417-8CA96F6BFFDD}" destId="{BBE09310-B4AE-4B0A-A01F-157614B446AF}" srcOrd="8" destOrd="0" parTransId="{58093D7E-E63E-4895-8BC2-606D5BC6CEFF}" sibTransId="{CDF7D30C-FA32-432A-953F-93CD0BF53FE5}"/>
    <dgm:cxn modelId="{05DF6F9B-635A-466C-A3E4-29E6C351B3A5}" type="presOf" srcId="{6ADA94F4-E964-464C-B81A-A5997DE1D7EE}" destId="{AF814335-286D-4A63-9B4D-2D3466461DDB}" srcOrd="0" destOrd="0" presId="urn:microsoft.com/office/officeart/2005/8/layout/hChevron3"/>
    <dgm:cxn modelId="{05F482A7-E4D3-4CE5-BBB0-FEBDDA1A0715}" type="presOf" srcId="{8EC9E499-5048-4496-9520-D91A43C8118D}" destId="{3ED65369-217E-4D49-9F64-4471C6F48357}" srcOrd="0" destOrd="0" presId="urn:microsoft.com/office/officeart/2005/8/layout/hChevron3"/>
    <dgm:cxn modelId="{E8394DAF-9D12-4B0A-896C-47AF58C463CD}" srcId="{FC295B7D-F857-4701-B417-8CA96F6BFFDD}" destId="{63EB9005-20D6-42A4-8C4A-7C18913D6523}" srcOrd="1" destOrd="0" parTransId="{25DDDD1A-08A4-409F-999B-57C5FB8AB6CB}" sibTransId="{93C1E42E-ED5E-4F1D-A7CD-F9740C80DF3F}"/>
    <dgm:cxn modelId="{61989EB0-1C4B-4BDD-B79D-B201D4A1D2E4}" type="presOf" srcId="{63EB9005-20D6-42A4-8C4A-7C18913D6523}" destId="{8B79A64D-9D22-4A79-A270-B7ADD22155D2}" srcOrd="0" destOrd="0" presId="urn:microsoft.com/office/officeart/2005/8/layout/hChevron3"/>
    <dgm:cxn modelId="{6B7121B2-1FEC-4832-A47B-0A99E724AC73}" type="presOf" srcId="{BBE09310-B4AE-4B0A-A01F-157614B446AF}" destId="{A10BF886-FB56-4505-A18A-A6E570242149}" srcOrd="0" destOrd="0" presId="urn:microsoft.com/office/officeart/2005/8/layout/hChevron3"/>
    <dgm:cxn modelId="{A585E6BB-D089-4675-89FE-67D979360D74}" srcId="{FC295B7D-F857-4701-B417-8CA96F6BFFDD}" destId="{1BBE3D0C-6B6F-4B3A-A712-A00526757103}" srcOrd="12" destOrd="0" parTransId="{8CA4EF54-DC83-45BA-BB4F-43A94C1BA681}" sibTransId="{CAC54404-968E-47F7-A61A-1DA0B1A42840}"/>
    <dgm:cxn modelId="{08293CC0-CF60-46A6-9A8B-B99354DEC368}" srcId="{FC295B7D-F857-4701-B417-8CA96F6BFFDD}" destId="{8CE7B1C9-0BD2-4462-B32D-4D31702C3E76}" srcOrd="2" destOrd="0" parTransId="{2AC01C37-0939-40DE-8923-1C6C6C2610E7}" sibTransId="{B1939085-C2EE-49FB-A072-89E3A38B12AF}"/>
    <dgm:cxn modelId="{15F2F4C3-F0C7-4093-8B53-BC515EE11E5A}" type="presOf" srcId="{12382D85-ACFD-490F-888C-2114F27C4BF7}" destId="{A379D365-20DF-4073-A1AB-BA299F9B590E}" srcOrd="0" destOrd="0" presId="urn:microsoft.com/office/officeart/2005/8/layout/hChevron3"/>
    <dgm:cxn modelId="{091C0BCA-7C60-424B-BAAF-6E61323AF5C6}" type="presOf" srcId="{C7C767CE-B71D-44DD-9F07-1172A1A708BB}" destId="{FF492FC4-140E-4C27-B8F3-3E7AF3B20685}" srcOrd="0" destOrd="0" presId="urn:microsoft.com/office/officeart/2005/8/layout/hChevron3"/>
    <dgm:cxn modelId="{56B06ACF-81EE-47CE-909C-8309BA40628F}" srcId="{FC295B7D-F857-4701-B417-8CA96F6BFFDD}" destId="{B901B503-3290-41FB-B3F8-0B587FC33E3B}" srcOrd="6" destOrd="0" parTransId="{6D4F6CFE-717B-46CE-9876-7C904312C07F}" sibTransId="{57454D4F-3791-4ABF-A2BC-076FD55B9CF3}"/>
    <dgm:cxn modelId="{3A57C3D0-2FDA-4BF1-89DB-CD5741083A75}" srcId="{FC295B7D-F857-4701-B417-8CA96F6BFFDD}" destId="{12382D85-ACFD-490F-888C-2114F27C4BF7}" srcOrd="10" destOrd="0" parTransId="{A7AB244B-E027-42E7-B6E3-5D858C1419CA}" sibTransId="{9922AC5B-B516-4927-B774-10F116070995}"/>
    <dgm:cxn modelId="{60D978E0-411C-498F-B2BF-ED02726DC0B0}" type="presOf" srcId="{B901B503-3290-41FB-B3F8-0B587FC33E3B}" destId="{6B98CBCD-E89E-4180-8377-1128BB900E75}" srcOrd="0" destOrd="0" presId="urn:microsoft.com/office/officeart/2005/8/layout/hChevron3"/>
    <dgm:cxn modelId="{6668B6E7-1C13-4DC7-A4D8-4E774C5F79A0}" srcId="{FC295B7D-F857-4701-B417-8CA96F6BFFDD}" destId="{C4109414-31C0-4083-AFBC-0DA7D9E02CA5}" srcOrd="5" destOrd="0" parTransId="{306C2B99-300B-44C4-B366-86CC00129EE1}" sibTransId="{D57F9888-59DD-4B8B-8001-885D841C0BC9}"/>
    <dgm:cxn modelId="{2575DBF3-3FAC-4B73-A1A1-483876B34AE7}" srcId="{FC295B7D-F857-4701-B417-8CA96F6BFFDD}" destId="{59C00689-6E1F-4D4F-B61B-93E45C162884}" srcOrd="9" destOrd="0" parTransId="{630BEF09-07F7-4558-A51F-C17A34876320}" sibTransId="{A7649572-3E4D-4ECA-ADCC-1D212F68A805}"/>
    <dgm:cxn modelId="{BBC2CD05-BE99-4BE9-8B50-CF4D28022165}" type="presParOf" srcId="{EEF8DC9F-A7A5-4737-B6D7-71E40C66DD58}" destId="{1CA2016E-9240-4939-AC74-35F63662D3AC}" srcOrd="0" destOrd="0" presId="urn:microsoft.com/office/officeart/2005/8/layout/hChevron3"/>
    <dgm:cxn modelId="{F0203C37-E732-442F-AE19-E7F361B3A063}" type="presParOf" srcId="{EEF8DC9F-A7A5-4737-B6D7-71E40C66DD58}" destId="{7E86FA99-36AC-4EDE-8AA2-3C83B26A6D7D}" srcOrd="1" destOrd="0" presId="urn:microsoft.com/office/officeart/2005/8/layout/hChevron3"/>
    <dgm:cxn modelId="{51AD80D2-26AE-48FE-B3CE-1AF68A632878}" type="presParOf" srcId="{EEF8DC9F-A7A5-4737-B6D7-71E40C66DD58}" destId="{8B79A64D-9D22-4A79-A270-B7ADD22155D2}" srcOrd="2" destOrd="0" presId="urn:microsoft.com/office/officeart/2005/8/layout/hChevron3"/>
    <dgm:cxn modelId="{0E323538-6FB8-4338-A254-7DB778198979}" type="presParOf" srcId="{EEF8DC9F-A7A5-4737-B6D7-71E40C66DD58}" destId="{67F152AC-FF39-4A5D-908E-235C1FA0FE5A}" srcOrd="3" destOrd="0" presId="urn:microsoft.com/office/officeart/2005/8/layout/hChevron3"/>
    <dgm:cxn modelId="{CF604A35-25CE-41AE-8BBA-97D3100B12EB}" type="presParOf" srcId="{EEF8DC9F-A7A5-4737-B6D7-71E40C66DD58}" destId="{094020EB-3143-4343-84FC-A8D8663415FA}" srcOrd="4" destOrd="0" presId="urn:microsoft.com/office/officeart/2005/8/layout/hChevron3"/>
    <dgm:cxn modelId="{3691FD85-63F1-4177-A9A0-8F041A8F7F42}" type="presParOf" srcId="{EEF8DC9F-A7A5-4737-B6D7-71E40C66DD58}" destId="{2F21F380-3DEB-49B9-802E-D96C60D6DEC0}" srcOrd="5" destOrd="0" presId="urn:microsoft.com/office/officeart/2005/8/layout/hChevron3"/>
    <dgm:cxn modelId="{B825CE78-984A-4825-A9BC-67B4FC7FEDB7}" type="presParOf" srcId="{EEF8DC9F-A7A5-4737-B6D7-71E40C66DD58}" destId="{ECD0462F-FC86-43EC-9EE1-F98A4E3685E5}" srcOrd="6" destOrd="0" presId="urn:microsoft.com/office/officeart/2005/8/layout/hChevron3"/>
    <dgm:cxn modelId="{F0DEBCFF-B2C1-45D7-AE29-A6FEA349086B}" type="presParOf" srcId="{EEF8DC9F-A7A5-4737-B6D7-71E40C66DD58}" destId="{14C6B0AC-EAE3-41F4-A78F-8BCEF6B2062C}" srcOrd="7" destOrd="0" presId="urn:microsoft.com/office/officeart/2005/8/layout/hChevron3"/>
    <dgm:cxn modelId="{4F0B3AAF-122E-40B1-91AC-C866E6A33E0F}" type="presParOf" srcId="{EEF8DC9F-A7A5-4737-B6D7-71E40C66DD58}" destId="{D851844B-5F9B-474F-BF45-9F1571037C6B}" srcOrd="8" destOrd="0" presId="urn:microsoft.com/office/officeart/2005/8/layout/hChevron3"/>
    <dgm:cxn modelId="{7762C01C-8888-4205-940A-3890AEBAAD5A}" type="presParOf" srcId="{EEF8DC9F-A7A5-4737-B6D7-71E40C66DD58}" destId="{D6B97D54-86A1-4294-8AE2-BB16CFC89823}" srcOrd="9" destOrd="0" presId="urn:microsoft.com/office/officeart/2005/8/layout/hChevron3"/>
    <dgm:cxn modelId="{181D047A-7024-499E-8939-C89A8C16FF42}" type="presParOf" srcId="{EEF8DC9F-A7A5-4737-B6D7-71E40C66DD58}" destId="{21EE003F-A6AE-47D0-8F30-7E500E2B43C5}" srcOrd="10" destOrd="0" presId="urn:microsoft.com/office/officeart/2005/8/layout/hChevron3"/>
    <dgm:cxn modelId="{461D789A-B67E-46C0-B193-ED47E8316F31}" type="presParOf" srcId="{EEF8DC9F-A7A5-4737-B6D7-71E40C66DD58}" destId="{73780782-3044-4E1D-80A1-2A421F143FCB}" srcOrd="11" destOrd="0" presId="urn:microsoft.com/office/officeart/2005/8/layout/hChevron3"/>
    <dgm:cxn modelId="{C6BAF284-5307-41D5-A599-44957CD732B2}" type="presParOf" srcId="{EEF8DC9F-A7A5-4737-B6D7-71E40C66DD58}" destId="{6B98CBCD-E89E-4180-8377-1128BB900E75}" srcOrd="12" destOrd="0" presId="urn:microsoft.com/office/officeart/2005/8/layout/hChevron3"/>
    <dgm:cxn modelId="{352AE785-5171-4D3E-B6EF-3B22D2E2077E}" type="presParOf" srcId="{EEF8DC9F-A7A5-4737-B6D7-71E40C66DD58}" destId="{7532E259-5AF4-4BE9-8827-7DA286DF1CEB}" srcOrd="13" destOrd="0" presId="urn:microsoft.com/office/officeart/2005/8/layout/hChevron3"/>
    <dgm:cxn modelId="{10BA4780-6A9F-43FE-AF11-C848BCE0CC18}" type="presParOf" srcId="{EEF8DC9F-A7A5-4737-B6D7-71E40C66DD58}" destId="{AF814335-286D-4A63-9B4D-2D3466461DDB}" srcOrd="14" destOrd="0" presId="urn:microsoft.com/office/officeart/2005/8/layout/hChevron3"/>
    <dgm:cxn modelId="{D8EEA65A-A9AC-470F-8D3C-84D61D64504F}" type="presParOf" srcId="{EEF8DC9F-A7A5-4737-B6D7-71E40C66DD58}" destId="{9E772E0C-A598-4235-BC54-43B82487BE6B}" srcOrd="15" destOrd="0" presId="urn:microsoft.com/office/officeart/2005/8/layout/hChevron3"/>
    <dgm:cxn modelId="{2306827D-8A75-4C05-81CC-927CC5421D63}" type="presParOf" srcId="{EEF8DC9F-A7A5-4737-B6D7-71E40C66DD58}" destId="{A10BF886-FB56-4505-A18A-A6E570242149}" srcOrd="16" destOrd="0" presId="urn:microsoft.com/office/officeart/2005/8/layout/hChevron3"/>
    <dgm:cxn modelId="{8AC25B6D-A7AB-416B-934D-145C5A954D36}" type="presParOf" srcId="{EEF8DC9F-A7A5-4737-B6D7-71E40C66DD58}" destId="{B1B1D131-C83B-45DF-87BB-551769A4FBC2}" srcOrd="17" destOrd="0" presId="urn:microsoft.com/office/officeart/2005/8/layout/hChevron3"/>
    <dgm:cxn modelId="{45D29DDD-7576-4BF9-AA58-8D20A4231A26}" type="presParOf" srcId="{EEF8DC9F-A7A5-4737-B6D7-71E40C66DD58}" destId="{395877A3-2998-45B1-8766-D05006EF8E29}" srcOrd="18" destOrd="0" presId="urn:microsoft.com/office/officeart/2005/8/layout/hChevron3"/>
    <dgm:cxn modelId="{59D46CB9-123C-4B81-B0E3-37C9110DED65}" type="presParOf" srcId="{EEF8DC9F-A7A5-4737-B6D7-71E40C66DD58}" destId="{E51B4D1F-BE70-4027-A953-1181740A4BB8}" srcOrd="19" destOrd="0" presId="urn:microsoft.com/office/officeart/2005/8/layout/hChevron3"/>
    <dgm:cxn modelId="{16C2B860-76BD-4DAE-A2A2-8E257EB4D8BF}" type="presParOf" srcId="{EEF8DC9F-A7A5-4737-B6D7-71E40C66DD58}" destId="{A379D365-20DF-4073-A1AB-BA299F9B590E}" srcOrd="20" destOrd="0" presId="urn:microsoft.com/office/officeart/2005/8/layout/hChevron3"/>
    <dgm:cxn modelId="{DDE2C823-8978-4656-ACB5-1317E77F2F6D}" type="presParOf" srcId="{EEF8DC9F-A7A5-4737-B6D7-71E40C66DD58}" destId="{90BD7D04-31E3-477D-8AA8-26AD80BB62E0}" srcOrd="21" destOrd="0" presId="urn:microsoft.com/office/officeart/2005/8/layout/hChevron3"/>
    <dgm:cxn modelId="{F5824407-8719-47CE-91EF-DE0227EDDB67}" type="presParOf" srcId="{EEF8DC9F-A7A5-4737-B6D7-71E40C66DD58}" destId="{3ED65369-217E-4D49-9F64-4471C6F48357}" srcOrd="22" destOrd="0" presId="urn:microsoft.com/office/officeart/2005/8/layout/hChevron3"/>
    <dgm:cxn modelId="{338838B8-546A-42B9-9C18-CD34E31DC45C}" type="presParOf" srcId="{EEF8DC9F-A7A5-4737-B6D7-71E40C66DD58}" destId="{1E8306B6-1370-4444-B39B-692DFBDC6CFD}" srcOrd="23" destOrd="0" presId="urn:microsoft.com/office/officeart/2005/8/layout/hChevron3"/>
    <dgm:cxn modelId="{023BBC86-6F0B-428E-A7B9-E7A266696288}" type="presParOf" srcId="{EEF8DC9F-A7A5-4737-B6D7-71E40C66DD58}" destId="{2D49D640-C7D1-4468-B187-B2874A901B0B}" srcOrd="24" destOrd="0" presId="urn:microsoft.com/office/officeart/2005/8/layout/hChevron3"/>
    <dgm:cxn modelId="{9A79F27C-0D5C-463E-9C67-BC68518626B1}" type="presParOf" srcId="{EEF8DC9F-A7A5-4737-B6D7-71E40C66DD58}" destId="{BB666EE6-0491-4B9A-A011-5CC94620A38F}" srcOrd="25" destOrd="0" presId="urn:microsoft.com/office/officeart/2005/8/layout/hChevron3"/>
    <dgm:cxn modelId="{FA173660-D176-420D-95DA-9B24168CEBA5}" type="presParOf" srcId="{EEF8DC9F-A7A5-4737-B6D7-71E40C66DD58}" destId="{FF492FC4-140E-4C27-B8F3-3E7AF3B20685}" srcOrd="2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FC295B7D-F857-4701-B417-8CA96F6BFFDD}" type="doc">
      <dgm:prSet loTypeId="urn:microsoft.com/office/officeart/2005/8/layout/hChevron3" loCatId="process" qsTypeId="urn:microsoft.com/office/officeart/2005/8/quickstyle/simple1" qsCatId="simple" csTypeId="urn:microsoft.com/office/officeart/2005/8/colors/accent1_4" csCatId="accent1" phldr="1"/>
      <dgm:spPr/>
    </dgm:pt>
    <dgm:pt modelId="{A53DFD9A-4278-42D6-A32D-23B9914C2737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>
              <a:solidFill>
                <a:schemeClr val="bg1"/>
              </a:solidFill>
            </a:rPr>
            <a:t>Jan</a:t>
          </a:r>
        </a:p>
      </dgm:t>
    </dgm:pt>
    <dgm:pt modelId="{C30E3508-CF4C-4B17-87E1-A6BED450C84C}" type="parTrans" cxnId="{9568A93D-94F9-4966-83A3-C88683C6E04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F913E39C-95FC-4BA4-ACCA-4E5091F2C97B}" type="sibTrans" cxnId="{9568A93D-94F9-4966-83A3-C88683C6E04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63EB9005-20D6-42A4-8C4A-7C18913D6523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 err="1">
              <a:solidFill>
                <a:schemeClr val="bg1"/>
              </a:solidFill>
            </a:rPr>
            <a:t>Feb</a:t>
          </a:r>
          <a:endParaRPr lang="nb-NO" sz="1600">
            <a:solidFill>
              <a:schemeClr val="bg1"/>
            </a:solidFill>
          </a:endParaRPr>
        </a:p>
      </dgm:t>
    </dgm:pt>
    <dgm:pt modelId="{25DDDD1A-08A4-409F-999B-57C5FB8AB6CB}" type="parTrans" cxnId="{E8394DAF-9D12-4B0A-896C-47AF58C463C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3C1E42E-ED5E-4F1D-A7CD-F9740C80DF3F}" type="sibTrans" cxnId="{E8394DAF-9D12-4B0A-896C-47AF58C463C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8CE7B1C9-0BD2-4462-B32D-4D31702C3E76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>
              <a:solidFill>
                <a:schemeClr val="bg1"/>
              </a:solidFill>
            </a:rPr>
            <a:t>Mars</a:t>
          </a:r>
        </a:p>
      </dgm:t>
    </dgm:pt>
    <dgm:pt modelId="{2AC01C37-0939-40DE-8923-1C6C6C2610E7}" type="parTrans" cxnId="{08293CC0-CF60-46A6-9A8B-B99354DEC368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1939085-C2EE-49FB-A072-89E3A38B12AF}" type="sibTrans" cxnId="{08293CC0-CF60-46A6-9A8B-B99354DEC368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0D86B1FE-AC4F-4FD1-AA3C-F1D7B07E3891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>
              <a:solidFill>
                <a:schemeClr val="bg1"/>
              </a:solidFill>
            </a:rPr>
            <a:t>April</a:t>
          </a:r>
        </a:p>
      </dgm:t>
    </dgm:pt>
    <dgm:pt modelId="{9786C803-8CC5-49F3-B443-4FD751F8C0F2}" type="parTrans" cxnId="{CF3A7C11-1D1F-4917-8C1E-F7A6905A066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D0EB1B8E-3D62-436B-81AE-22CFF478D2F7}" type="sibTrans" cxnId="{CF3A7C11-1D1F-4917-8C1E-F7A6905A066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7DD039A-6E5A-40AF-8817-8BECD499E1D2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Mai</a:t>
          </a:r>
        </a:p>
      </dgm:t>
    </dgm:pt>
    <dgm:pt modelId="{2DE9AB6D-5608-41E5-8EE2-B72BA286AE64}" type="parTrans" cxnId="{CF24E739-EC0D-440F-A384-F98ECBC87BE3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3E85B2B3-1759-4FE0-91CD-CCF04ACFDEA0}" type="sibTrans" cxnId="{CF24E739-EC0D-440F-A384-F98ECBC87BE3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4109414-31C0-4083-AFBC-0DA7D9E02CA5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Jun</a:t>
          </a:r>
          <a:endParaRPr lang="nb-NO" sz="1600">
            <a:solidFill>
              <a:schemeClr val="tx1"/>
            </a:solidFill>
          </a:endParaRPr>
        </a:p>
      </dgm:t>
    </dgm:pt>
    <dgm:pt modelId="{306C2B99-300B-44C4-B366-86CC00129EE1}" type="parTrans" cxnId="{6668B6E7-1C13-4DC7-A4D8-4E774C5F79A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D57F9888-59DD-4B8B-8001-885D841C0BC9}" type="sibTrans" cxnId="{6668B6E7-1C13-4DC7-A4D8-4E774C5F79A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901B503-3290-41FB-B3F8-0B587FC33E3B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Jul</a:t>
          </a:r>
        </a:p>
      </dgm:t>
    </dgm:pt>
    <dgm:pt modelId="{6D4F6CFE-717B-46CE-9876-7C904312C07F}" type="parTrans" cxnId="{56B06ACF-81EE-47CE-909C-8309BA40628F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57454D4F-3791-4ABF-A2BC-076FD55B9CF3}" type="sibTrans" cxnId="{56B06ACF-81EE-47CE-909C-8309BA40628F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6ADA94F4-E964-464C-B81A-A5997DE1D7EE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Aug</a:t>
          </a:r>
          <a:endParaRPr lang="nb-NO" sz="1600">
            <a:solidFill>
              <a:schemeClr val="tx1"/>
            </a:solidFill>
          </a:endParaRPr>
        </a:p>
      </dgm:t>
    </dgm:pt>
    <dgm:pt modelId="{B8F8B226-D0E3-4D08-B384-255160124048}" type="parTrans" cxnId="{B2C53778-00A3-4ECB-B45E-D9A80FFF443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75DFA3E5-F7D5-4357-B890-DAE32F1ECAD2}" type="sibTrans" cxnId="{B2C53778-00A3-4ECB-B45E-D9A80FFF443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BE09310-B4AE-4B0A-A01F-157614B446AF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Sept</a:t>
          </a:r>
          <a:endParaRPr lang="nb-NO" sz="1600">
            <a:solidFill>
              <a:schemeClr val="tx1"/>
            </a:solidFill>
          </a:endParaRPr>
        </a:p>
      </dgm:t>
    </dgm:pt>
    <dgm:pt modelId="{58093D7E-E63E-4895-8BC2-606D5BC6CEFF}" type="parTrans" cxnId="{06E96791-C78B-4A04-B271-12030991727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DF7D30C-FA32-432A-953F-93CD0BF53FE5}" type="sibTrans" cxnId="{06E96791-C78B-4A04-B271-12030991727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59C00689-6E1F-4D4F-B61B-93E45C162884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 err="1">
              <a:solidFill>
                <a:schemeClr val="bg1"/>
              </a:solidFill>
            </a:rPr>
            <a:t>Okt</a:t>
          </a:r>
          <a:endParaRPr lang="nb-NO" sz="1600">
            <a:solidFill>
              <a:schemeClr val="bg1"/>
            </a:solidFill>
          </a:endParaRPr>
        </a:p>
      </dgm:t>
    </dgm:pt>
    <dgm:pt modelId="{630BEF09-07F7-4558-A51F-C17A34876320}" type="parTrans" cxnId="{2575DBF3-3FAC-4B73-A1A1-483876B34AE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A7649572-3E4D-4ECA-ADCC-1D212F68A805}" type="sibTrans" cxnId="{2575DBF3-3FAC-4B73-A1A1-483876B34AE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12382D85-ACFD-490F-888C-2114F27C4BF7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>
              <a:solidFill>
                <a:schemeClr val="bg1"/>
              </a:solidFill>
            </a:rPr>
            <a:t>Nov</a:t>
          </a:r>
        </a:p>
      </dgm:t>
    </dgm:pt>
    <dgm:pt modelId="{A7AB244B-E027-42E7-B6E3-5D858C1419CA}" type="parTrans" cxnId="{3A57C3D0-2FDA-4BF1-89DB-CD5741083A75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922AC5B-B516-4927-B774-10F116070995}" type="sibTrans" cxnId="{3A57C3D0-2FDA-4BF1-89DB-CD5741083A75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8EC9E499-5048-4496-9520-D91A43C8118D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>
              <a:solidFill>
                <a:schemeClr val="bg1"/>
              </a:solidFill>
            </a:rPr>
            <a:t>Des</a:t>
          </a:r>
        </a:p>
      </dgm:t>
    </dgm:pt>
    <dgm:pt modelId="{E076673E-F3DE-4CFA-A9E3-4364A71E63AB}" type="parTrans" cxnId="{4B114B18-FFCC-4E34-BC14-A8A8466BF32B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36EEDC4-3639-4C95-9876-E0FE934E62ED}" type="sibTrans" cxnId="{4B114B18-FFCC-4E34-BC14-A8A8466BF32B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EEF8DC9F-A7A5-4737-B6D7-71E40C66DD58}" type="pres">
      <dgm:prSet presAssocID="{FC295B7D-F857-4701-B417-8CA96F6BFFDD}" presName="Name0" presStyleCnt="0">
        <dgm:presLayoutVars>
          <dgm:dir/>
          <dgm:resizeHandles val="exact"/>
        </dgm:presLayoutVars>
      </dgm:prSet>
      <dgm:spPr/>
    </dgm:pt>
    <dgm:pt modelId="{1CA2016E-9240-4939-AC74-35F63662D3AC}" type="pres">
      <dgm:prSet presAssocID="{A53DFD9A-4278-42D6-A32D-23B9914C2737}" presName="parTxOnly" presStyleLbl="node1" presStyleIdx="0" presStyleCnt="12" custScaleY="72955">
        <dgm:presLayoutVars>
          <dgm:bulletEnabled val="1"/>
        </dgm:presLayoutVars>
      </dgm:prSet>
      <dgm:spPr/>
    </dgm:pt>
    <dgm:pt modelId="{7E86FA99-36AC-4EDE-8AA2-3C83B26A6D7D}" type="pres">
      <dgm:prSet presAssocID="{F913E39C-95FC-4BA4-ACCA-4E5091F2C97B}" presName="parSpace" presStyleCnt="0"/>
      <dgm:spPr/>
    </dgm:pt>
    <dgm:pt modelId="{8B79A64D-9D22-4A79-A270-B7ADD22155D2}" type="pres">
      <dgm:prSet presAssocID="{63EB9005-20D6-42A4-8C4A-7C18913D6523}" presName="parTxOnly" presStyleLbl="node1" presStyleIdx="1" presStyleCnt="12" custScaleY="72955">
        <dgm:presLayoutVars>
          <dgm:bulletEnabled val="1"/>
        </dgm:presLayoutVars>
      </dgm:prSet>
      <dgm:spPr/>
    </dgm:pt>
    <dgm:pt modelId="{67F152AC-FF39-4A5D-908E-235C1FA0FE5A}" type="pres">
      <dgm:prSet presAssocID="{93C1E42E-ED5E-4F1D-A7CD-F9740C80DF3F}" presName="parSpace" presStyleCnt="0"/>
      <dgm:spPr/>
    </dgm:pt>
    <dgm:pt modelId="{094020EB-3143-4343-84FC-A8D8663415FA}" type="pres">
      <dgm:prSet presAssocID="{8CE7B1C9-0BD2-4462-B32D-4D31702C3E76}" presName="parTxOnly" presStyleLbl="node1" presStyleIdx="2" presStyleCnt="12" custScaleY="72955">
        <dgm:presLayoutVars>
          <dgm:bulletEnabled val="1"/>
        </dgm:presLayoutVars>
      </dgm:prSet>
      <dgm:spPr/>
    </dgm:pt>
    <dgm:pt modelId="{2F21F380-3DEB-49B9-802E-D96C60D6DEC0}" type="pres">
      <dgm:prSet presAssocID="{B1939085-C2EE-49FB-A072-89E3A38B12AF}" presName="parSpace" presStyleCnt="0"/>
      <dgm:spPr/>
    </dgm:pt>
    <dgm:pt modelId="{ECD0462F-FC86-43EC-9EE1-F98A4E3685E5}" type="pres">
      <dgm:prSet presAssocID="{0D86B1FE-AC4F-4FD1-AA3C-F1D7B07E3891}" presName="parTxOnly" presStyleLbl="node1" presStyleIdx="3" presStyleCnt="12" custScaleY="72955">
        <dgm:presLayoutVars>
          <dgm:bulletEnabled val="1"/>
        </dgm:presLayoutVars>
      </dgm:prSet>
      <dgm:spPr/>
    </dgm:pt>
    <dgm:pt modelId="{14C6B0AC-EAE3-41F4-A78F-8BCEF6B2062C}" type="pres">
      <dgm:prSet presAssocID="{D0EB1B8E-3D62-436B-81AE-22CFF478D2F7}" presName="parSpace" presStyleCnt="0"/>
      <dgm:spPr/>
    </dgm:pt>
    <dgm:pt modelId="{D851844B-5F9B-474F-BF45-9F1571037C6B}" type="pres">
      <dgm:prSet presAssocID="{97DD039A-6E5A-40AF-8817-8BECD499E1D2}" presName="parTxOnly" presStyleLbl="node1" presStyleIdx="4" presStyleCnt="12" custScaleY="72955">
        <dgm:presLayoutVars>
          <dgm:bulletEnabled val="1"/>
        </dgm:presLayoutVars>
      </dgm:prSet>
      <dgm:spPr/>
    </dgm:pt>
    <dgm:pt modelId="{D6B97D54-86A1-4294-8AE2-BB16CFC89823}" type="pres">
      <dgm:prSet presAssocID="{3E85B2B3-1759-4FE0-91CD-CCF04ACFDEA0}" presName="parSpace" presStyleCnt="0"/>
      <dgm:spPr/>
    </dgm:pt>
    <dgm:pt modelId="{21EE003F-A6AE-47D0-8F30-7E500E2B43C5}" type="pres">
      <dgm:prSet presAssocID="{C4109414-31C0-4083-AFBC-0DA7D9E02CA5}" presName="parTxOnly" presStyleLbl="node1" presStyleIdx="5" presStyleCnt="12" custScaleY="72955">
        <dgm:presLayoutVars>
          <dgm:bulletEnabled val="1"/>
        </dgm:presLayoutVars>
      </dgm:prSet>
      <dgm:spPr/>
    </dgm:pt>
    <dgm:pt modelId="{73780782-3044-4E1D-80A1-2A421F143FCB}" type="pres">
      <dgm:prSet presAssocID="{D57F9888-59DD-4B8B-8001-885D841C0BC9}" presName="parSpace" presStyleCnt="0"/>
      <dgm:spPr/>
    </dgm:pt>
    <dgm:pt modelId="{6B98CBCD-E89E-4180-8377-1128BB900E75}" type="pres">
      <dgm:prSet presAssocID="{B901B503-3290-41FB-B3F8-0B587FC33E3B}" presName="parTxOnly" presStyleLbl="node1" presStyleIdx="6" presStyleCnt="12" custScaleY="72955">
        <dgm:presLayoutVars>
          <dgm:bulletEnabled val="1"/>
        </dgm:presLayoutVars>
      </dgm:prSet>
      <dgm:spPr/>
    </dgm:pt>
    <dgm:pt modelId="{7532E259-5AF4-4BE9-8827-7DA286DF1CEB}" type="pres">
      <dgm:prSet presAssocID="{57454D4F-3791-4ABF-A2BC-076FD55B9CF3}" presName="parSpace" presStyleCnt="0"/>
      <dgm:spPr/>
    </dgm:pt>
    <dgm:pt modelId="{AF814335-286D-4A63-9B4D-2D3466461DDB}" type="pres">
      <dgm:prSet presAssocID="{6ADA94F4-E964-464C-B81A-A5997DE1D7EE}" presName="parTxOnly" presStyleLbl="node1" presStyleIdx="7" presStyleCnt="12" custScaleY="72955">
        <dgm:presLayoutVars>
          <dgm:bulletEnabled val="1"/>
        </dgm:presLayoutVars>
      </dgm:prSet>
      <dgm:spPr/>
    </dgm:pt>
    <dgm:pt modelId="{9E772E0C-A598-4235-BC54-43B82487BE6B}" type="pres">
      <dgm:prSet presAssocID="{75DFA3E5-F7D5-4357-B890-DAE32F1ECAD2}" presName="parSpace" presStyleCnt="0"/>
      <dgm:spPr/>
    </dgm:pt>
    <dgm:pt modelId="{A10BF886-FB56-4505-A18A-A6E570242149}" type="pres">
      <dgm:prSet presAssocID="{BBE09310-B4AE-4B0A-A01F-157614B446AF}" presName="parTxOnly" presStyleLbl="node1" presStyleIdx="8" presStyleCnt="12" custScaleY="72955">
        <dgm:presLayoutVars>
          <dgm:bulletEnabled val="1"/>
        </dgm:presLayoutVars>
      </dgm:prSet>
      <dgm:spPr/>
    </dgm:pt>
    <dgm:pt modelId="{B1B1D131-C83B-45DF-87BB-551769A4FBC2}" type="pres">
      <dgm:prSet presAssocID="{CDF7D30C-FA32-432A-953F-93CD0BF53FE5}" presName="parSpace" presStyleCnt="0"/>
      <dgm:spPr/>
    </dgm:pt>
    <dgm:pt modelId="{395877A3-2998-45B1-8766-D05006EF8E29}" type="pres">
      <dgm:prSet presAssocID="{59C00689-6E1F-4D4F-B61B-93E45C162884}" presName="parTxOnly" presStyleLbl="node1" presStyleIdx="9" presStyleCnt="12" custScaleY="72955">
        <dgm:presLayoutVars>
          <dgm:bulletEnabled val="1"/>
        </dgm:presLayoutVars>
      </dgm:prSet>
      <dgm:spPr/>
    </dgm:pt>
    <dgm:pt modelId="{E51B4D1F-BE70-4027-A953-1181740A4BB8}" type="pres">
      <dgm:prSet presAssocID="{A7649572-3E4D-4ECA-ADCC-1D212F68A805}" presName="parSpace" presStyleCnt="0"/>
      <dgm:spPr/>
    </dgm:pt>
    <dgm:pt modelId="{A379D365-20DF-4073-A1AB-BA299F9B590E}" type="pres">
      <dgm:prSet presAssocID="{12382D85-ACFD-490F-888C-2114F27C4BF7}" presName="parTxOnly" presStyleLbl="node1" presStyleIdx="10" presStyleCnt="12" custScaleY="72955">
        <dgm:presLayoutVars>
          <dgm:bulletEnabled val="1"/>
        </dgm:presLayoutVars>
      </dgm:prSet>
      <dgm:spPr/>
    </dgm:pt>
    <dgm:pt modelId="{90BD7D04-31E3-477D-8AA8-26AD80BB62E0}" type="pres">
      <dgm:prSet presAssocID="{9922AC5B-B516-4927-B774-10F116070995}" presName="parSpace" presStyleCnt="0"/>
      <dgm:spPr/>
    </dgm:pt>
    <dgm:pt modelId="{3ED65369-217E-4D49-9F64-4471C6F48357}" type="pres">
      <dgm:prSet presAssocID="{8EC9E499-5048-4496-9520-D91A43C8118D}" presName="parTxOnly" presStyleLbl="node1" presStyleIdx="11" presStyleCnt="12" custScaleY="72955">
        <dgm:presLayoutVars>
          <dgm:bulletEnabled val="1"/>
        </dgm:presLayoutVars>
      </dgm:prSet>
      <dgm:spPr/>
    </dgm:pt>
  </dgm:ptLst>
  <dgm:cxnLst>
    <dgm:cxn modelId="{FED5B103-1C66-4321-A002-4F6D451F46E1}" type="presOf" srcId="{97DD039A-6E5A-40AF-8817-8BECD499E1D2}" destId="{D851844B-5F9B-474F-BF45-9F1571037C6B}" srcOrd="0" destOrd="0" presId="urn:microsoft.com/office/officeart/2005/8/layout/hChevron3"/>
    <dgm:cxn modelId="{CF3A7C11-1D1F-4917-8C1E-F7A6905A066D}" srcId="{FC295B7D-F857-4701-B417-8CA96F6BFFDD}" destId="{0D86B1FE-AC4F-4FD1-AA3C-F1D7B07E3891}" srcOrd="3" destOrd="0" parTransId="{9786C803-8CC5-49F3-B443-4FD751F8C0F2}" sibTransId="{D0EB1B8E-3D62-436B-81AE-22CFF478D2F7}"/>
    <dgm:cxn modelId="{4B114B18-FFCC-4E34-BC14-A8A8466BF32B}" srcId="{FC295B7D-F857-4701-B417-8CA96F6BFFDD}" destId="{8EC9E499-5048-4496-9520-D91A43C8118D}" srcOrd="11" destOrd="0" parTransId="{E076673E-F3DE-4CFA-A9E3-4364A71E63AB}" sibTransId="{B36EEDC4-3639-4C95-9876-E0FE934E62ED}"/>
    <dgm:cxn modelId="{B0D30623-49E5-4E75-BDEE-C8BF368B313C}" type="presOf" srcId="{FC295B7D-F857-4701-B417-8CA96F6BFFDD}" destId="{EEF8DC9F-A7A5-4737-B6D7-71E40C66DD58}" srcOrd="0" destOrd="0" presId="urn:microsoft.com/office/officeart/2005/8/layout/hChevron3"/>
    <dgm:cxn modelId="{CF24E739-EC0D-440F-A384-F98ECBC87BE3}" srcId="{FC295B7D-F857-4701-B417-8CA96F6BFFDD}" destId="{97DD039A-6E5A-40AF-8817-8BECD499E1D2}" srcOrd="4" destOrd="0" parTransId="{2DE9AB6D-5608-41E5-8EE2-B72BA286AE64}" sibTransId="{3E85B2B3-1759-4FE0-91CD-CCF04ACFDEA0}"/>
    <dgm:cxn modelId="{9568A93D-94F9-4966-83A3-C88683C6E04D}" srcId="{FC295B7D-F857-4701-B417-8CA96F6BFFDD}" destId="{A53DFD9A-4278-42D6-A32D-23B9914C2737}" srcOrd="0" destOrd="0" parTransId="{C30E3508-CF4C-4B17-87E1-A6BED450C84C}" sibTransId="{F913E39C-95FC-4BA4-ACCA-4E5091F2C97B}"/>
    <dgm:cxn modelId="{06509E40-E1EE-451C-BA75-8C2693C07295}" type="presOf" srcId="{59C00689-6E1F-4D4F-B61B-93E45C162884}" destId="{395877A3-2998-45B1-8766-D05006EF8E29}" srcOrd="0" destOrd="0" presId="urn:microsoft.com/office/officeart/2005/8/layout/hChevron3"/>
    <dgm:cxn modelId="{614B1048-AD29-4587-A462-527E202C49A3}" type="presOf" srcId="{8CE7B1C9-0BD2-4462-B32D-4D31702C3E76}" destId="{094020EB-3143-4343-84FC-A8D8663415FA}" srcOrd="0" destOrd="0" presId="urn:microsoft.com/office/officeart/2005/8/layout/hChevron3"/>
    <dgm:cxn modelId="{0B37EC69-6685-4A2E-B930-CE41DCF5CB7B}" type="presOf" srcId="{0D86B1FE-AC4F-4FD1-AA3C-F1D7B07E3891}" destId="{ECD0462F-FC86-43EC-9EE1-F98A4E3685E5}" srcOrd="0" destOrd="0" presId="urn:microsoft.com/office/officeart/2005/8/layout/hChevron3"/>
    <dgm:cxn modelId="{7CBD5952-274C-45EF-8FAF-9CBC6A0E51D6}" type="presOf" srcId="{A53DFD9A-4278-42D6-A32D-23B9914C2737}" destId="{1CA2016E-9240-4939-AC74-35F63662D3AC}" srcOrd="0" destOrd="0" presId="urn:microsoft.com/office/officeart/2005/8/layout/hChevron3"/>
    <dgm:cxn modelId="{B2C53778-00A3-4ECB-B45E-D9A80FFF4430}" srcId="{FC295B7D-F857-4701-B417-8CA96F6BFFDD}" destId="{6ADA94F4-E964-464C-B81A-A5997DE1D7EE}" srcOrd="7" destOrd="0" parTransId="{B8F8B226-D0E3-4D08-B384-255160124048}" sibTransId="{75DFA3E5-F7D5-4357-B890-DAE32F1ECAD2}"/>
    <dgm:cxn modelId="{755D1F8B-CC6E-4B2E-8499-00ED7E1B81E1}" type="presOf" srcId="{C4109414-31C0-4083-AFBC-0DA7D9E02CA5}" destId="{21EE003F-A6AE-47D0-8F30-7E500E2B43C5}" srcOrd="0" destOrd="0" presId="urn:microsoft.com/office/officeart/2005/8/layout/hChevron3"/>
    <dgm:cxn modelId="{06E96791-C78B-4A04-B271-120309917277}" srcId="{FC295B7D-F857-4701-B417-8CA96F6BFFDD}" destId="{BBE09310-B4AE-4B0A-A01F-157614B446AF}" srcOrd="8" destOrd="0" parTransId="{58093D7E-E63E-4895-8BC2-606D5BC6CEFF}" sibTransId="{CDF7D30C-FA32-432A-953F-93CD0BF53FE5}"/>
    <dgm:cxn modelId="{05DF6F9B-635A-466C-A3E4-29E6C351B3A5}" type="presOf" srcId="{6ADA94F4-E964-464C-B81A-A5997DE1D7EE}" destId="{AF814335-286D-4A63-9B4D-2D3466461DDB}" srcOrd="0" destOrd="0" presId="urn:microsoft.com/office/officeart/2005/8/layout/hChevron3"/>
    <dgm:cxn modelId="{05F482A7-E4D3-4CE5-BBB0-FEBDDA1A0715}" type="presOf" srcId="{8EC9E499-5048-4496-9520-D91A43C8118D}" destId="{3ED65369-217E-4D49-9F64-4471C6F48357}" srcOrd="0" destOrd="0" presId="urn:microsoft.com/office/officeart/2005/8/layout/hChevron3"/>
    <dgm:cxn modelId="{E8394DAF-9D12-4B0A-896C-47AF58C463CD}" srcId="{FC295B7D-F857-4701-B417-8CA96F6BFFDD}" destId="{63EB9005-20D6-42A4-8C4A-7C18913D6523}" srcOrd="1" destOrd="0" parTransId="{25DDDD1A-08A4-409F-999B-57C5FB8AB6CB}" sibTransId="{93C1E42E-ED5E-4F1D-A7CD-F9740C80DF3F}"/>
    <dgm:cxn modelId="{61989EB0-1C4B-4BDD-B79D-B201D4A1D2E4}" type="presOf" srcId="{63EB9005-20D6-42A4-8C4A-7C18913D6523}" destId="{8B79A64D-9D22-4A79-A270-B7ADD22155D2}" srcOrd="0" destOrd="0" presId="urn:microsoft.com/office/officeart/2005/8/layout/hChevron3"/>
    <dgm:cxn modelId="{6B7121B2-1FEC-4832-A47B-0A99E724AC73}" type="presOf" srcId="{BBE09310-B4AE-4B0A-A01F-157614B446AF}" destId="{A10BF886-FB56-4505-A18A-A6E570242149}" srcOrd="0" destOrd="0" presId="urn:microsoft.com/office/officeart/2005/8/layout/hChevron3"/>
    <dgm:cxn modelId="{08293CC0-CF60-46A6-9A8B-B99354DEC368}" srcId="{FC295B7D-F857-4701-B417-8CA96F6BFFDD}" destId="{8CE7B1C9-0BD2-4462-B32D-4D31702C3E76}" srcOrd="2" destOrd="0" parTransId="{2AC01C37-0939-40DE-8923-1C6C6C2610E7}" sibTransId="{B1939085-C2EE-49FB-A072-89E3A38B12AF}"/>
    <dgm:cxn modelId="{15F2F4C3-F0C7-4093-8B53-BC515EE11E5A}" type="presOf" srcId="{12382D85-ACFD-490F-888C-2114F27C4BF7}" destId="{A379D365-20DF-4073-A1AB-BA299F9B590E}" srcOrd="0" destOrd="0" presId="urn:microsoft.com/office/officeart/2005/8/layout/hChevron3"/>
    <dgm:cxn modelId="{56B06ACF-81EE-47CE-909C-8309BA40628F}" srcId="{FC295B7D-F857-4701-B417-8CA96F6BFFDD}" destId="{B901B503-3290-41FB-B3F8-0B587FC33E3B}" srcOrd="6" destOrd="0" parTransId="{6D4F6CFE-717B-46CE-9876-7C904312C07F}" sibTransId="{57454D4F-3791-4ABF-A2BC-076FD55B9CF3}"/>
    <dgm:cxn modelId="{3A57C3D0-2FDA-4BF1-89DB-CD5741083A75}" srcId="{FC295B7D-F857-4701-B417-8CA96F6BFFDD}" destId="{12382D85-ACFD-490F-888C-2114F27C4BF7}" srcOrd="10" destOrd="0" parTransId="{A7AB244B-E027-42E7-B6E3-5D858C1419CA}" sibTransId="{9922AC5B-B516-4927-B774-10F116070995}"/>
    <dgm:cxn modelId="{60D978E0-411C-498F-B2BF-ED02726DC0B0}" type="presOf" srcId="{B901B503-3290-41FB-B3F8-0B587FC33E3B}" destId="{6B98CBCD-E89E-4180-8377-1128BB900E75}" srcOrd="0" destOrd="0" presId="urn:microsoft.com/office/officeart/2005/8/layout/hChevron3"/>
    <dgm:cxn modelId="{6668B6E7-1C13-4DC7-A4D8-4E774C5F79A0}" srcId="{FC295B7D-F857-4701-B417-8CA96F6BFFDD}" destId="{C4109414-31C0-4083-AFBC-0DA7D9E02CA5}" srcOrd="5" destOrd="0" parTransId="{306C2B99-300B-44C4-B366-86CC00129EE1}" sibTransId="{D57F9888-59DD-4B8B-8001-885D841C0BC9}"/>
    <dgm:cxn modelId="{2575DBF3-3FAC-4B73-A1A1-483876B34AE7}" srcId="{FC295B7D-F857-4701-B417-8CA96F6BFFDD}" destId="{59C00689-6E1F-4D4F-B61B-93E45C162884}" srcOrd="9" destOrd="0" parTransId="{630BEF09-07F7-4558-A51F-C17A34876320}" sibTransId="{A7649572-3E4D-4ECA-ADCC-1D212F68A805}"/>
    <dgm:cxn modelId="{BBC2CD05-BE99-4BE9-8B50-CF4D28022165}" type="presParOf" srcId="{EEF8DC9F-A7A5-4737-B6D7-71E40C66DD58}" destId="{1CA2016E-9240-4939-AC74-35F63662D3AC}" srcOrd="0" destOrd="0" presId="urn:microsoft.com/office/officeart/2005/8/layout/hChevron3"/>
    <dgm:cxn modelId="{F0203C37-E732-442F-AE19-E7F361B3A063}" type="presParOf" srcId="{EEF8DC9F-A7A5-4737-B6D7-71E40C66DD58}" destId="{7E86FA99-36AC-4EDE-8AA2-3C83B26A6D7D}" srcOrd="1" destOrd="0" presId="urn:microsoft.com/office/officeart/2005/8/layout/hChevron3"/>
    <dgm:cxn modelId="{51AD80D2-26AE-48FE-B3CE-1AF68A632878}" type="presParOf" srcId="{EEF8DC9F-A7A5-4737-B6D7-71E40C66DD58}" destId="{8B79A64D-9D22-4A79-A270-B7ADD22155D2}" srcOrd="2" destOrd="0" presId="urn:microsoft.com/office/officeart/2005/8/layout/hChevron3"/>
    <dgm:cxn modelId="{0E323538-6FB8-4338-A254-7DB778198979}" type="presParOf" srcId="{EEF8DC9F-A7A5-4737-B6D7-71E40C66DD58}" destId="{67F152AC-FF39-4A5D-908E-235C1FA0FE5A}" srcOrd="3" destOrd="0" presId="urn:microsoft.com/office/officeart/2005/8/layout/hChevron3"/>
    <dgm:cxn modelId="{CF604A35-25CE-41AE-8BBA-97D3100B12EB}" type="presParOf" srcId="{EEF8DC9F-A7A5-4737-B6D7-71E40C66DD58}" destId="{094020EB-3143-4343-84FC-A8D8663415FA}" srcOrd="4" destOrd="0" presId="urn:microsoft.com/office/officeart/2005/8/layout/hChevron3"/>
    <dgm:cxn modelId="{3691FD85-63F1-4177-A9A0-8F041A8F7F42}" type="presParOf" srcId="{EEF8DC9F-A7A5-4737-B6D7-71E40C66DD58}" destId="{2F21F380-3DEB-49B9-802E-D96C60D6DEC0}" srcOrd="5" destOrd="0" presId="urn:microsoft.com/office/officeart/2005/8/layout/hChevron3"/>
    <dgm:cxn modelId="{B825CE78-984A-4825-A9BC-67B4FC7FEDB7}" type="presParOf" srcId="{EEF8DC9F-A7A5-4737-B6D7-71E40C66DD58}" destId="{ECD0462F-FC86-43EC-9EE1-F98A4E3685E5}" srcOrd="6" destOrd="0" presId="urn:microsoft.com/office/officeart/2005/8/layout/hChevron3"/>
    <dgm:cxn modelId="{F0DEBCFF-B2C1-45D7-AE29-A6FEA349086B}" type="presParOf" srcId="{EEF8DC9F-A7A5-4737-B6D7-71E40C66DD58}" destId="{14C6B0AC-EAE3-41F4-A78F-8BCEF6B2062C}" srcOrd="7" destOrd="0" presId="urn:microsoft.com/office/officeart/2005/8/layout/hChevron3"/>
    <dgm:cxn modelId="{4F0B3AAF-122E-40B1-91AC-C866E6A33E0F}" type="presParOf" srcId="{EEF8DC9F-A7A5-4737-B6D7-71E40C66DD58}" destId="{D851844B-5F9B-474F-BF45-9F1571037C6B}" srcOrd="8" destOrd="0" presId="urn:microsoft.com/office/officeart/2005/8/layout/hChevron3"/>
    <dgm:cxn modelId="{7762C01C-8888-4205-940A-3890AEBAAD5A}" type="presParOf" srcId="{EEF8DC9F-A7A5-4737-B6D7-71E40C66DD58}" destId="{D6B97D54-86A1-4294-8AE2-BB16CFC89823}" srcOrd="9" destOrd="0" presId="urn:microsoft.com/office/officeart/2005/8/layout/hChevron3"/>
    <dgm:cxn modelId="{181D047A-7024-499E-8939-C89A8C16FF42}" type="presParOf" srcId="{EEF8DC9F-A7A5-4737-B6D7-71E40C66DD58}" destId="{21EE003F-A6AE-47D0-8F30-7E500E2B43C5}" srcOrd="10" destOrd="0" presId="urn:microsoft.com/office/officeart/2005/8/layout/hChevron3"/>
    <dgm:cxn modelId="{461D789A-B67E-46C0-B193-ED47E8316F31}" type="presParOf" srcId="{EEF8DC9F-A7A5-4737-B6D7-71E40C66DD58}" destId="{73780782-3044-4E1D-80A1-2A421F143FCB}" srcOrd="11" destOrd="0" presId="urn:microsoft.com/office/officeart/2005/8/layout/hChevron3"/>
    <dgm:cxn modelId="{C6BAF284-5307-41D5-A599-44957CD732B2}" type="presParOf" srcId="{EEF8DC9F-A7A5-4737-B6D7-71E40C66DD58}" destId="{6B98CBCD-E89E-4180-8377-1128BB900E75}" srcOrd="12" destOrd="0" presId="urn:microsoft.com/office/officeart/2005/8/layout/hChevron3"/>
    <dgm:cxn modelId="{352AE785-5171-4D3E-B6EF-3B22D2E2077E}" type="presParOf" srcId="{EEF8DC9F-A7A5-4737-B6D7-71E40C66DD58}" destId="{7532E259-5AF4-4BE9-8827-7DA286DF1CEB}" srcOrd="13" destOrd="0" presId="urn:microsoft.com/office/officeart/2005/8/layout/hChevron3"/>
    <dgm:cxn modelId="{10BA4780-6A9F-43FE-AF11-C848BCE0CC18}" type="presParOf" srcId="{EEF8DC9F-A7A5-4737-B6D7-71E40C66DD58}" destId="{AF814335-286D-4A63-9B4D-2D3466461DDB}" srcOrd="14" destOrd="0" presId="urn:microsoft.com/office/officeart/2005/8/layout/hChevron3"/>
    <dgm:cxn modelId="{D8EEA65A-A9AC-470F-8D3C-84D61D64504F}" type="presParOf" srcId="{EEF8DC9F-A7A5-4737-B6D7-71E40C66DD58}" destId="{9E772E0C-A598-4235-BC54-43B82487BE6B}" srcOrd="15" destOrd="0" presId="urn:microsoft.com/office/officeart/2005/8/layout/hChevron3"/>
    <dgm:cxn modelId="{2306827D-8A75-4C05-81CC-927CC5421D63}" type="presParOf" srcId="{EEF8DC9F-A7A5-4737-B6D7-71E40C66DD58}" destId="{A10BF886-FB56-4505-A18A-A6E570242149}" srcOrd="16" destOrd="0" presId="urn:microsoft.com/office/officeart/2005/8/layout/hChevron3"/>
    <dgm:cxn modelId="{8AC25B6D-A7AB-416B-934D-145C5A954D36}" type="presParOf" srcId="{EEF8DC9F-A7A5-4737-B6D7-71E40C66DD58}" destId="{B1B1D131-C83B-45DF-87BB-551769A4FBC2}" srcOrd="17" destOrd="0" presId="urn:microsoft.com/office/officeart/2005/8/layout/hChevron3"/>
    <dgm:cxn modelId="{45D29DDD-7576-4BF9-AA58-8D20A4231A26}" type="presParOf" srcId="{EEF8DC9F-A7A5-4737-B6D7-71E40C66DD58}" destId="{395877A3-2998-45B1-8766-D05006EF8E29}" srcOrd="18" destOrd="0" presId="urn:microsoft.com/office/officeart/2005/8/layout/hChevron3"/>
    <dgm:cxn modelId="{59D46CB9-123C-4B81-B0E3-37C9110DED65}" type="presParOf" srcId="{EEF8DC9F-A7A5-4737-B6D7-71E40C66DD58}" destId="{E51B4D1F-BE70-4027-A953-1181740A4BB8}" srcOrd="19" destOrd="0" presId="urn:microsoft.com/office/officeart/2005/8/layout/hChevron3"/>
    <dgm:cxn modelId="{16C2B860-76BD-4DAE-A2A2-8E257EB4D8BF}" type="presParOf" srcId="{EEF8DC9F-A7A5-4737-B6D7-71E40C66DD58}" destId="{A379D365-20DF-4073-A1AB-BA299F9B590E}" srcOrd="20" destOrd="0" presId="urn:microsoft.com/office/officeart/2005/8/layout/hChevron3"/>
    <dgm:cxn modelId="{DDE2C823-8978-4656-ACB5-1317E77F2F6D}" type="presParOf" srcId="{EEF8DC9F-A7A5-4737-B6D7-71E40C66DD58}" destId="{90BD7D04-31E3-477D-8AA8-26AD80BB62E0}" srcOrd="21" destOrd="0" presId="urn:microsoft.com/office/officeart/2005/8/layout/hChevron3"/>
    <dgm:cxn modelId="{F5824407-8719-47CE-91EF-DE0227EDDB67}" type="presParOf" srcId="{EEF8DC9F-A7A5-4737-B6D7-71E40C66DD58}" destId="{3ED65369-217E-4D49-9F64-4471C6F48357}" srcOrd="22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C295B7D-F857-4701-B417-8CA96F6BFFDD}" type="doc">
      <dgm:prSet loTypeId="urn:microsoft.com/office/officeart/2005/8/layout/hChevron3" loCatId="process" qsTypeId="urn:microsoft.com/office/officeart/2005/8/quickstyle/simple1" qsCatId="simple" csTypeId="urn:microsoft.com/office/officeart/2005/8/colors/accent1_4" csCatId="accent1" phldr="1"/>
      <dgm:spPr/>
    </dgm:pt>
    <dgm:pt modelId="{A53DFD9A-4278-42D6-A32D-23B9914C2737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Jan</a:t>
          </a:r>
        </a:p>
      </dgm:t>
    </dgm:pt>
    <dgm:pt modelId="{C30E3508-CF4C-4B17-87E1-A6BED450C84C}" type="parTrans" cxnId="{9568A93D-94F9-4966-83A3-C88683C6E04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F913E39C-95FC-4BA4-ACCA-4E5091F2C97B}" type="sibTrans" cxnId="{9568A93D-94F9-4966-83A3-C88683C6E04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63EB9005-20D6-42A4-8C4A-7C18913D6523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Feb</a:t>
          </a:r>
          <a:endParaRPr lang="nb-NO" sz="1600">
            <a:solidFill>
              <a:schemeClr val="tx1"/>
            </a:solidFill>
          </a:endParaRPr>
        </a:p>
      </dgm:t>
    </dgm:pt>
    <dgm:pt modelId="{25DDDD1A-08A4-409F-999B-57C5FB8AB6CB}" type="parTrans" cxnId="{E8394DAF-9D12-4B0A-896C-47AF58C463C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3C1E42E-ED5E-4F1D-A7CD-F9740C80DF3F}" type="sibTrans" cxnId="{E8394DAF-9D12-4B0A-896C-47AF58C463C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8CE7B1C9-0BD2-4462-B32D-4D31702C3E76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Mars</a:t>
          </a:r>
        </a:p>
      </dgm:t>
    </dgm:pt>
    <dgm:pt modelId="{2AC01C37-0939-40DE-8923-1C6C6C2610E7}" type="parTrans" cxnId="{08293CC0-CF60-46A6-9A8B-B99354DEC368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1939085-C2EE-49FB-A072-89E3A38B12AF}" type="sibTrans" cxnId="{08293CC0-CF60-46A6-9A8B-B99354DEC368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0D86B1FE-AC4F-4FD1-AA3C-F1D7B07E3891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April</a:t>
          </a:r>
        </a:p>
      </dgm:t>
    </dgm:pt>
    <dgm:pt modelId="{9786C803-8CC5-49F3-B443-4FD751F8C0F2}" type="parTrans" cxnId="{CF3A7C11-1D1F-4917-8C1E-F7A6905A066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D0EB1B8E-3D62-436B-81AE-22CFF478D2F7}" type="sibTrans" cxnId="{CF3A7C11-1D1F-4917-8C1E-F7A6905A066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7DD039A-6E5A-40AF-8817-8BECD499E1D2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Mai</a:t>
          </a:r>
        </a:p>
      </dgm:t>
    </dgm:pt>
    <dgm:pt modelId="{2DE9AB6D-5608-41E5-8EE2-B72BA286AE64}" type="parTrans" cxnId="{CF24E739-EC0D-440F-A384-F98ECBC87BE3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3E85B2B3-1759-4FE0-91CD-CCF04ACFDEA0}" type="sibTrans" cxnId="{CF24E739-EC0D-440F-A384-F98ECBC87BE3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4109414-31C0-4083-AFBC-0DA7D9E02CA5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Jun</a:t>
          </a:r>
          <a:endParaRPr lang="nb-NO" sz="1600">
            <a:solidFill>
              <a:schemeClr val="tx1"/>
            </a:solidFill>
          </a:endParaRPr>
        </a:p>
      </dgm:t>
    </dgm:pt>
    <dgm:pt modelId="{306C2B99-300B-44C4-B366-86CC00129EE1}" type="parTrans" cxnId="{6668B6E7-1C13-4DC7-A4D8-4E774C5F79A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D57F9888-59DD-4B8B-8001-885D841C0BC9}" type="sibTrans" cxnId="{6668B6E7-1C13-4DC7-A4D8-4E774C5F79A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901B503-3290-41FB-B3F8-0B587FC33E3B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Jul</a:t>
          </a:r>
        </a:p>
      </dgm:t>
    </dgm:pt>
    <dgm:pt modelId="{6D4F6CFE-717B-46CE-9876-7C904312C07F}" type="parTrans" cxnId="{56B06ACF-81EE-47CE-909C-8309BA40628F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57454D4F-3791-4ABF-A2BC-076FD55B9CF3}" type="sibTrans" cxnId="{56B06ACF-81EE-47CE-909C-8309BA40628F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6ADA94F4-E964-464C-B81A-A5997DE1D7EE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Aug</a:t>
          </a:r>
          <a:endParaRPr lang="nb-NO" sz="1600">
            <a:solidFill>
              <a:schemeClr val="tx1"/>
            </a:solidFill>
          </a:endParaRPr>
        </a:p>
      </dgm:t>
    </dgm:pt>
    <dgm:pt modelId="{B8F8B226-D0E3-4D08-B384-255160124048}" type="parTrans" cxnId="{B2C53778-00A3-4ECB-B45E-D9A80FFF443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75DFA3E5-F7D5-4357-B890-DAE32F1ECAD2}" type="sibTrans" cxnId="{B2C53778-00A3-4ECB-B45E-D9A80FFF443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BE09310-B4AE-4B0A-A01F-157614B446AF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Sept</a:t>
          </a:r>
          <a:endParaRPr lang="nb-NO" sz="1600">
            <a:solidFill>
              <a:schemeClr val="tx1"/>
            </a:solidFill>
          </a:endParaRPr>
        </a:p>
      </dgm:t>
    </dgm:pt>
    <dgm:pt modelId="{58093D7E-E63E-4895-8BC2-606D5BC6CEFF}" type="parTrans" cxnId="{06E96791-C78B-4A04-B271-12030991727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DF7D30C-FA32-432A-953F-93CD0BF53FE5}" type="sibTrans" cxnId="{06E96791-C78B-4A04-B271-12030991727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59C00689-6E1F-4D4F-B61B-93E45C162884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Okt</a:t>
          </a:r>
          <a:endParaRPr lang="nb-NO" sz="1600">
            <a:solidFill>
              <a:schemeClr val="tx1"/>
            </a:solidFill>
          </a:endParaRPr>
        </a:p>
      </dgm:t>
    </dgm:pt>
    <dgm:pt modelId="{630BEF09-07F7-4558-A51F-C17A34876320}" type="parTrans" cxnId="{2575DBF3-3FAC-4B73-A1A1-483876B34AE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A7649572-3E4D-4ECA-ADCC-1D212F68A805}" type="sibTrans" cxnId="{2575DBF3-3FAC-4B73-A1A1-483876B34AE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12382D85-ACFD-490F-888C-2114F27C4BF7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Nov</a:t>
          </a:r>
        </a:p>
      </dgm:t>
    </dgm:pt>
    <dgm:pt modelId="{A7AB244B-E027-42E7-B6E3-5D858C1419CA}" type="parTrans" cxnId="{3A57C3D0-2FDA-4BF1-89DB-CD5741083A75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922AC5B-B516-4927-B774-10F116070995}" type="sibTrans" cxnId="{3A57C3D0-2FDA-4BF1-89DB-CD5741083A75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8EC9E499-5048-4496-9520-D91A43C8118D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Des</a:t>
          </a:r>
        </a:p>
      </dgm:t>
    </dgm:pt>
    <dgm:pt modelId="{E076673E-F3DE-4CFA-A9E3-4364A71E63AB}" type="parTrans" cxnId="{4B114B18-FFCC-4E34-BC14-A8A8466BF32B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36EEDC4-3639-4C95-9876-E0FE934E62ED}" type="sibTrans" cxnId="{4B114B18-FFCC-4E34-BC14-A8A8466BF32B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1BBE3D0C-6B6F-4B3A-A712-A00526757103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Jan</a:t>
          </a:r>
        </a:p>
      </dgm:t>
    </dgm:pt>
    <dgm:pt modelId="{8CA4EF54-DC83-45BA-BB4F-43A94C1BA681}" type="parTrans" cxnId="{A585E6BB-D089-4675-89FE-67D979360D74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AC54404-968E-47F7-A61A-1DA0B1A42840}" type="sibTrans" cxnId="{A585E6BB-D089-4675-89FE-67D979360D74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7C767CE-B71D-44DD-9F07-1172A1A708BB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Feb</a:t>
          </a:r>
          <a:endParaRPr lang="nb-NO" sz="1600">
            <a:solidFill>
              <a:schemeClr val="tx1"/>
            </a:solidFill>
          </a:endParaRPr>
        </a:p>
      </dgm:t>
    </dgm:pt>
    <dgm:pt modelId="{12F37BFB-21C4-4647-BE4A-FB4ADB1A7835}" type="parTrans" cxnId="{48224370-A21D-4159-8E3D-3AA4A5230E72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0DF525DA-6D96-4524-BFE8-E8A7C9CA5F2C}" type="sibTrans" cxnId="{48224370-A21D-4159-8E3D-3AA4A5230E72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EEF8DC9F-A7A5-4737-B6D7-71E40C66DD58}" type="pres">
      <dgm:prSet presAssocID="{FC295B7D-F857-4701-B417-8CA96F6BFFDD}" presName="Name0" presStyleCnt="0">
        <dgm:presLayoutVars>
          <dgm:dir/>
          <dgm:resizeHandles val="exact"/>
        </dgm:presLayoutVars>
      </dgm:prSet>
      <dgm:spPr/>
    </dgm:pt>
    <dgm:pt modelId="{1CA2016E-9240-4939-AC74-35F63662D3AC}" type="pres">
      <dgm:prSet presAssocID="{A53DFD9A-4278-42D6-A32D-23B9914C2737}" presName="parTxOnly" presStyleLbl="node1" presStyleIdx="0" presStyleCnt="14" custScaleY="72955">
        <dgm:presLayoutVars>
          <dgm:bulletEnabled val="1"/>
        </dgm:presLayoutVars>
      </dgm:prSet>
      <dgm:spPr/>
    </dgm:pt>
    <dgm:pt modelId="{7E86FA99-36AC-4EDE-8AA2-3C83B26A6D7D}" type="pres">
      <dgm:prSet presAssocID="{F913E39C-95FC-4BA4-ACCA-4E5091F2C97B}" presName="parSpace" presStyleCnt="0"/>
      <dgm:spPr/>
    </dgm:pt>
    <dgm:pt modelId="{8B79A64D-9D22-4A79-A270-B7ADD22155D2}" type="pres">
      <dgm:prSet presAssocID="{63EB9005-20D6-42A4-8C4A-7C18913D6523}" presName="parTxOnly" presStyleLbl="node1" presStyleIdx="1" presStyleCnt="14" custScaleY="72955">
        <dgm:presLayoutVars>
          <dgm:bulletEnabled val="1"/>
        </dgm:presLayoutVars>
      </dgm:prSet>
      <dgm:spPr/>
    </dgm:pt>
    <dgm:pt modelId="{67F152AC-FF39-4A5D-908E-235C1FA0FE5A}" type="pres">
      <dgm:prSet presAssocID="{93C1E42E-ED5E-4F1D-A7CD-F9740C80DF3F}" presName="parSpace" presStyleCnt="0"/>
      <dgm:spPr/>
    </dgm:pt>
    <dgm:pt modelId="{094020EB-3143-4343-84FC-A8D8663415FA}" type="pres">
      <dgm:prSet presAssocID="{8CE7B1C9-0BD2-4462-B32D-4D31702C3E76}" presName="parTxOnly" presStyleLbl="node1" presStyleIdx="2" presStyleCnt="14" custScaleY="72955">
        <dgm:presLayoutVars>
          <dgm:bulletEnabled val="1"/>
        </dgm:presLayoutVars>
      </dgm:prSet>
      <dgm:spPr/>
    </dgm:pt>
    <dgm:pt modelId="{2F21F380-3DEB-49B9-802E-D96C60D6DEC0}" type="pres">
      <dgm:prSet presAssocID="{B1939085-C2EE-49FB-A072-89E3A38B12AF}" presName="parSpace" presStyleCnt="0"/>
      <dgm:spPr/>
    </dgm:pt>
    <dgm:pt modelId="{ECD0462F-FC86-43EC-9EE1-F98A4E3685E5}" type="pres">
      <dgm:prSet presAssocID="{0D86B1FE-AC4F-4FD1-AA3C-F1D7B07E3891}" presName="parTxOnly" presStyleLbl="node1" presStyleIdx="3" presStyleCnt="14" custScaleY="72955">
        <dgm:presLayoutVars>
          <dgm:bulletEnabled val="1"/>
        </dgm:presLayoutVars>
      </dgm:prSet>
      <dgm:spPr/>
    </dgm:pt>
    <dgm:pt modelId="{14C6B0AC-EAE3-41F4-A78F-8BCEF6B2062C}" type="pres">
      <dgm:prSet presAssocID="{D0EB1B8E-3D62-436B-81AE-22CFF478D2F7}" presName="parSpace" presStyleCnt="0"/>
      <dgm:spPr/>
    </dgm:pt>
    <dgm:pt modelId="{D851844B-5F9B-474F-BF45-9F1571037C6B}" type="pres">
      <dgm:prSet presAssocID="{97DD039A-6E5A-40AF-8817-8BECD499E1D2}" presName="parTxOnly" presStyleLbl="node1" presStyleIdx="4" presStyleCnt="14" custScaleY="72955">
        <dgm:presLayoutVars>
          <dgm:bulletEnabled val="1"/>
        </dgm:presLayoutVars>
      </dgm:prSet>
      <dgm:spPr/>
    </dgm:pt>
    <dgm:pt modelId="{D6B97D54-86A1-4294-8AE2-BB16CFC89823}" type="pres">
      <dgm:prSet presAssocID="{3E85B2B3-1759-4FE0-91CD-CCF04ACFDEA0}" presName="parSpace" presStyleCnt="0"/>
      <dgm:spPr/>
    </dgm:pt>
    <dgm:pt modelId="{21EE003F-A6AE-47D0-8F30-7E500E2B43C5}" type="pres">
      <dgm:prSet presAssocID="{C4109414-31C0-4083-AFBC-0DA7D9E02CA5}" presName="parTxOnly" presStyleLbl="node1" presStyleIdx="5" presStyleCnt="14" custScaleY="72955">
        <dgm:presLayoutVars>
          <dgm:bulletEnabled val="1"/>
        </dgm:presLayoutVars>
      </dgm:prSet>
      <dgm:spPr/>
    </dgm:pt>
    <dgm:pt modelId="{73780782-3044-4E1D-80A1-2A421F143FCB}" type="pres">
      <dgm:prSet presAssocID="{D57F9888-59DD-4B8B-8001-885D841C0BC9}" presName="parSpace" presStyleCnt="0"/>
      <dgm:spPr/>
    </dgm:pt>
    <dgm:pt modelId="{6B98CBCD-E89E-4180-8377-1128BB900E75}" type="pres">
      <dgm:prSet presAssocID="{B901B503-3290-41FB-B3F8-0B587FC33E3B}" presName="parTxOnly" presStyleLbl="node1" presStyleIdx="6" presStyleCnt="14" custScaleY="72955">
        <dgm:presLayoutVars>
          <dgm:bulletEnabled val="1"/>
        </dgm:presLayoutVars>
      </dgm:prSet>
      <dgm:spPr/>
    </dgm:pt>
    <dgm:pt modelId="{7532E259-5AF4-4BE9-8827-7DA286DF1CEB}" type="pres">
      <dgm:prSet presAssocID="{57454D4F-3791-4ABF-A2BC-076FD55B9CF3}" presName="parSpace" presStyleCnt="0"/>
      <dgm:spPr/>
    </dgm:pt>
    <dgm:pt modelId="{AF814335-286D-4A63-9B4D-2D3466461DDB}" type="pres">
      <dgm:prSet presAssocID="{6ADA94F4-E964-464C-B81A-A5997DE1D7EE}" presName="parTxOnly" presStyleLbl="node1" presStyleIdx="7" presStyleCnt="14" custScaleY="72955">
        <dgm:presLayoutVars>
          <dgm:bulletEnabled val="1"/>
        </dgm:presLayoutVars>
      </dgm:prSet>
      <dgm:spPr/>
    </dgm:pt>
    <dgm:pt modelId="{9E772E0C-A598-4235-BC54-43B82487BE6B}" type="pres">
      <dgm:prSet presAssocID="{75DFA3E5-F7D5-4357-B890-DAE32F1ECAD2}" presName="parSpace" presStyleCnt="0"/>
      <dgm:spPr/>
    </dgm:pt>
    <dgm:pt modelId="{A10BF886-FB56-4505-A18A-A6E570242149}" type="pres">
      <dgm:prSet presAssocID="{BBE09310-B4AE-4B0A-A01F-157614B446AF}" presName="parTxOnly" presStyleLbl="node1" presStyleIdx="8" presStyleCnt="14" custScaleY="72955">
        <dgm:presLayoutVars>
          <dgm:bulletEnabled val="1"/>
        </dgm:presLayoutVars>
      </dgm:prSet>
      <dgm:spPr/>
    </dgm:pt>
    <dgm:pt modelId="{B1B1D131-C83B-45DF-87BB-551769A4FBC2}" type="pres">
      <dgm:prSet presAssocID="{CDF7D30C-FA32-432A-953F-93CD0BF53FE5}" presName="parSpace" presStyleCnt="0"/>
      <dgm:spPr/>
    </dgm:pt>
    <dgm:pt modelId="{395877A3-2998-45B1-8766-D05006EF8E29}" type="pres">
      <dgm:prSet presAssocID="{59C00689-6E1F-4D4F-B61B-93E45C162884}" presName="parTxOnly" presStyleLbl="node1" presStyleIdx="9" presStyleCnt="14" custScaleY="72955">
        <dgm:presLayoutVars>
          <dgm:bulletEnabled val="1"/>
        </dgm:presLayoutVars>
      </dgm:prSet>
      <dgm:spPr/>
    </dgm:pt>
    <dgm:pt modelId="{E51B4D1F-BE70-4027-A953-1181740A4BB8}" type="pres">
      <dgm:prSet presAssocID="{A7649572-3E4D-4ECA-ADCC-1D212F68A805}" presName="parSpace" presStyleCnt="0"/>
      <dgm:spPr/>
    </dgm:pt>
    <dgm:pt modelId="{A379D365-20DF-4073-A1AB-BA299F9B590E}" type="pres">
      <dgm:prSet presAssocID="{12382D85-ACFD-490F-888C-2114F27C4BF7}" presName="parTxOnly" presStyleLbl="node1" presStyleIdx="10" presStyleCnt="14" custScaleY="72955">
        <dgm:presLayoutVars>
          <dgm:bulletEnabled val="1"/>
        </dgm:presLayoutVars>
      </dgm:prSet>
      <dgm:spPr/>
    </dgm:pt>
    <dgm:pt modelId="{90BD7D04-31E3-477D-8AA8-26AD80BB62E0}" type="pres">
      <dgm:prSet presAssocID="{9922AC5B-B516-4927-B774-10F116070995}" presName="parSpace" presStyleCnt="0"/>
      <dgm:spPr/>
    </dgm:pt>
    <dgm:pt modelId="{3ED65369-217E-4D49-9F64-4471C6F48357}" type="pres">
      <dgm:prSet presAssocID="{8EC9E499-5048-4496-9520-D91A43C8118D}" presName="parTxOnly" presStyleLbl="node1" presStyleIdx="11" presStyleCnt="14" custScaleY="72955">
        <dgm:presLayoutVars>
          <dgm:bulletEnabled val="1"/>
        </dgm:presLayoutVars>
      </dgm:prSet>
      <dgm:spPr/>
    </dgm:pt>
    <dgm:pt modelId="{1E8306B6-1370-4444-B39B-692DFBDC6CFD}" type="pres">
      <dgm:prSet presAssocID="{B36EEDC4-3639-4C95-9876-E0FE934E62ED}" presName="parSpace" presStyleCnt="0"/>
      <dgm:spPr/>
    </dgm:pt>
    <dgm:pt modelId="{2D49D640-C7D1-4468-B187-B2874A901B0B}" type="pres">
      <dgm:prSet presAssocID="{1BBE3D0C-6B6F-4B3A-A712-A00526757103}" presName="parTxOnly" presStyleLbl="node1" presStyleIdx="12" presStyleCnt="14" custScaleY="72955">
        <dgm:presLayoutVars>
          <dgm:bulletEnabled val="1"/>
        </dgm:presLayoutVars>
      </dgm:prSet>
      <dgm:spPr/>
    </dgm:pt>
    <dgm:pt modelId="{BB666EE6-0491-4B9A-A011-5CC94620A38F}" type="pres">
      <dgm:prSet presAssocID="{CAC54404-968E-47F7-A61A-1DA0B1A42840}" presName="parSpace" presStyleCnt="0"/>
      <dgm:spPr/>
    </dgm:pt>
    <dgm:pt modelId="{FF492FC4-140E-4C27-B8F3-3E7AF3B20685}" type="pres">
      <dgm:prSet presAssocID="{C7C767CE-B71D-44DD-9F07-1172A1A708BB}" presName="parTxOnly" presStyleLbl="node1" presStyleIdx="13" presStyleCnt="14" custScaleY="72955">
        <dgm:presLayoutVars>
          <dgm:bulletEnabled val="1"/>
        </dgm:presLayoutVars>
      </dgm:prSet>
      <dgm:spPr/>
    </dgm:pt>
  </dgm:ptLst>
  <dgm:cxnLst>
    <dgm:cxn modelId="{FED5B103-1C66-4321-A002-4F6D451F46E1}" type="presOf" srcId="{97DD039A-6E5A-40AF-8817-8BECD499E1D2}" destId="{D851844B-5F9B-474F-BF45-9F1571037C6B}" srcOrd="0" destOrd="0" presId="urn:microsoft.com/office/officeart/2005/8/layout/hChevron3"/>
    <dgm:cxn modelId="{FDB73E04-4643-4051-B61F-32206937C126}" type="presOf" srcId="{1BBE3D0C-6B6F-4B3A-A712-A00526757103}" destId="{2D49D640-C7D1-4468-B187-B2874A901B0B}" srcOrd="0" destOrd="0" presId="urn:microsoft.com/office/officeart/2005/8/layout/hChevron3"/>
    <dgm:cxn modelId="{CF3A7C11-1D1F-4917-8C1E-F7A6905A066D}" srcId="{FC295B7D-F857-4701-B417-8CA96F6BFFDD}" destId="{0D86B1FE-AC4F-4FD1-AA3C-F1D7B07E3891}" srcOrd="3" destOrd="0" parTransId="{9786C803-8CC5-49F3-B443-4FD751F8C0F2}" sibTransId="{D0EB1B8E-3D62-436B-81AE-22CFF478D2F7}"/>
    <dgm:cxn modelId="{4B114B18-FFCC-4E34-BC14-A8A8466BF32B}" srcId="{FC295B7D-F857-4701-B417-8CA96F6BFFDD}" destId="{8EC9E499-5048-4496-9520-D91A43C8118D}" srcOrd="11" destOrd="0" parTransId="{E076673E-F3DE-4CFA-A9E3-4364A71E63AB}" sibTransId="{B36EEDC4-3639-4C95-9876-E0FE934E62ED}"/>
    <dgm:cxn modelId="{B0D30623-49E5-4E75-BDEE-C8BF368B313C}" type="presOf" srcId="{FC295B7D-F857-4701-B417-8CA96F6BFFDD}" destId="{EEF8DC9F-A7A5-4737-B6D7-71E40C66DD58}" srcOrd="0" destOrd="0" presId="urn:microsoft.com/office/officeart/2005/8/layout/hChevron3"/>
    <dgm:cxn modelId="{CF24E739-EC0D-440F-A384-F98ECBC87BE3}" srcId="{FC295B7D-F857-4701-B417-8CA96F6BFFDD}" destId="{97DD039A-6E5A-40AF-8817-8BECD499E1D2}" srcOrd="4" destOrd="0" parTransId="{2DE9AB6D-5608-41E5-8EE2-B72BA286AE64}" sibTransId="{3E85B2B3-1759-4FE0-91CD-CCF04ACFDEA0}"/>
    <dgm:cxn modelId="{9568A93D-94F9-4966-83A3-C88683C6E04D}" srcId="{FC295B7D-F857-4701-B417-8CA96F6BFFDD}" destId="{A53DFD9A-4278-42D6-A32D-23B9914C2737}" srcOrd="0" destOrd="0" parTransId="{C30E3508-CF4C-4B17-87E1-A6BED450C84C}" sibTransId="{F913E39C-95FC-4BA4-ACCA-4E5091F2C97B}"/>
    <dgm:cxn modelId="{06509E40-E1EE-451C-BA75-8C2693C07295}" type="presOf" srcId="{59C00689-6E1F-4D4F-B61B-93E45C162884}" destId="{395877A3-2998-45B1-8766-D05006EF8E29}" srcOrd="0" destOrd="0" presId="urn:microsoft.com/office/officeart/2005/8/layout/hChevron3"/>
    <dgm:cxn modelId="{614B1048-AD29-4587-A462-527E202C49A3}" type="presOf" srcId="{8CE7B1C9-0BD2-4462-B32D-4D31702C3E76}" destId="{094020EB-3143-4343-84FC-A8D8663415FA}" srcOrd="0" destOrd="0" presId="urn:microsoft.com/office/officeart/2005/8/layout/hChevron3"/>
    <dgm:cxn modelId="{0B37EC69-6685-4A2E-B930-CE41DCF5CB7B}" type="presOf" srcId="{0D86B1FE-AC4F-4FD1-AA3C-F1D7B07E3891}" destId="{ECD0462F-FC86-43EC-9EE1-F98A4E3685E5}" srcOrd="0" destOrd="0" presId="urn:microsoft.com/office/officeart/2005/8/layout/hChevron3"/>
    <dgm:cxn modelId="{48224370-A21D-4159-8E3D-3AA4A5230E72}" srcId="{FC295B7D-F857-4701-B417-8CA96F6BFFDD}" destId="{C7C767CE-B71D-44DD-9F07-1172A1A708BB}" srcOrd="13" destOrd="0" parTransId="{12F37BFB-21C4-4647-BE4A-FB4ADB1A7835}" sibTransId="{0DF525DA-6D96-4524-BFE8-E8A7C9CA5F2C}"/>
    <dgm:cxn modelId="{7CBD5952-274C-45EF-8FAF-9CBC6A0E51D6}" type="presOf" srcId="{A53DFD9A-4278-42D6-A32D-23B9914C2737}" destId="{1CA2016E-9240-4939-AC74-35F63662D3AC}" srcOrd="0" destOrd="0" presId="urn:microsoft.com/office/officeart/2005/8/layout/hChevron3"/>
    <dgm:cxn modelId="{B2C53778-00A3-4ECB-B45E-D9A80FFF4430}" srcId="{FC295B7D-F857-4701-B417-8CA96F6BFFDD}" destId="{6ADA94F4-E964-464C-B81A-A5997DE1D7EE}" srcOrd="7" destOrd="0" parTransId="{B8F8B226-D0E3-4D08-B384-255160124048}" sibTransId="{75DFA3E5-F7D5-4357-B890-DAE32F1ECAD2}"/>
    <dgm:cxn modelId="{755D1F8B-CC6E-4B2E-8499-00ED7E1B81E1}" type="presOf" srcId="{C4109414-31C0-4083-AFBC-0DA7D9E02CA5}" destId="{21EE003F-A6AE-47D0-8F30-7E500E2B43C5}" srcOrd="0" destOrd="0" presId="urn:microsoft.com/office/officeart/2005/8/layout/hChevron3"/>
    <dgm:cxn modelId="{06E96791-C78B-4A04-B271-120309917277}" srcId="{FC295B7D-F857-4701-B417-8CA96F6BFFDD}" destId="{BBE09310-B4AE-4B0A-A01F-157614B446AF}" srcOrd="8" destOrd="0" parTransId="{58093D7E-E63E-4895-8BC2-606D5BC6CEFF}" sibTransId="{CDF7D30C-FA32-432A-953F-93CD0BF53FE5}"/>
    <dgm:cxn modelId="{05DF6F9B-635A-466C-A3E4-29E6C351B3A5}" type="presOf" srcId="{6ADA94F4-E964-464C-B81A-A5997DE1D7EE}" destId="{AF814335-286D-4A63-9B4D-2D3466461DDB}" srcOrd="0" destOrd="0" presId="urn:microsoft.com/office/officeart/2005/8/layout/hChevron3"/>
    <dgm:cxn modelId="{05F482A7-E4D3-4CE5-BBB0-FEBDDA1A0715}" type="presOf" srcId="{8EC9E499-5048-4496-9520-D91A43C8118D}" destId="{3ED65369-217E-4D49-9F64-4471C6F48357}" srcOrd="0" destOrd="0" presId="urn:microsoft.com/office/officeart/2005/8/layout/hChevron3"/>
    <dgm:cxn modelId="{E8394DAF-9D12-4B0A-896C-47AF58C463CD}" srcId="{FC295B7D-F857-4701-B417-8CA96F6BFFDD}" destId="{63EB9005-20D6-42A4-8C4A-7C18913D6523}" srcOrd="1" destOrd="0" parTransId="{25DDDD1A-08A4-409F-999B-57C5FB8AB6CB}" sibTransId="{93C1E42E-ED5E-4F1D-A7CD-F9740C80DF3F}"/>
    <dgm:cxn modelId="{61989EB0-1C4B-4BDD-B79D-B201D4A1D2E4}" type="presOf" srcId="{63EB9005-20D6-42A4-8C4A-7C18913D6523}" destId="{8B79A64D-9D22-4A79-A270-B7ADD22155D2}" srcOrd="0" destOrd="0" presId="urn:microsoft.com/office/officeart/2005/8/layout/hChevron3"/>
    <dgm:cxn modelId="{6B7121B2-1FEC-4832-A47B-0A99E724AC73}" type="presOf" srcId="{BBE09310-B4AE-4B0A-A01F-157614B446AF}" destId="{A10BF886-FB56-4505-A18A-A6E570242149}" srcOrd="0" destOrd="0" presId="urn:microsoft.com/office/officeart/2005/8/layout/hChevron3"/>
    <dgm:cxn modelId="{A585E6BB-D089-4675-89FE-67D979360D74}" srcId="{FC295B7D-F857-4701-B417-8CA96F6BFFDD}" destId="{1BBE3D0C-6B6F-4B3A-A712-A00526757103}" srcOrd="12" destOrd="0" parTransId="{8CA4EF54-DC83-45BA-BB4F-43A94C1BA681}" sibTransId="{CAC54404-968E-47F7-A61A-1DA0B1A42840}"/>
    <dgm:cxn modelId="{08293CC0-CF60-46A6-9A8B-B99354DEC368}" srcId="{FC295B7D-F857-4701-B417-8CA96F6BFFDD}" destId="{8CE7B1C9-0BD2-4462-B32D-4D31702C3E76}" srcOrd="2" destOrd="0" parTransId="{2AC01C37-0939-40DE-8923-1C6C6C2610E7}" sibTransId="{B1939085-C2EE-49FB-A072-89E3A38B12AF}"/>
    <dgm:cxn modelId="{15F2F4C3-F0C7-4093-8B53-BC515EE11E5A}" type="presOf" srcId="{12382D85-ACFD-490F-888C-2114F27C4BF7}" destId="{A379D365-20DF-4073-A1AB-BA299F9B590E}" srcOrd="0" destOrd="0" presId="urn:microsoft.com/office/officeart/2005/8/layout/hChevron3"/>
    <dgm:cxn modelId="{091C0BCA-7C60-424B-BAAF-6E61323AF5C6}" type="presOf" srcId="{C7C767CE-B71D-44DD-9F07-1172A1A708BB}" destId="{FF492FC4-140E-4C27-B8F3-3E7AF3B20685}" srcOrd="0" destOrd="0" presId="urn:microsoft.com/office/officeart/2005/8/layout/hChevron3"/>
    <dgm:cxn modelId="{56B06ACF-81EE-47CE-909C-8309BA40628F}" srcId="{FC295B7D-F857-4701-B417-8CA96F6BFFDD}" destId="{B901B503-3290-41FB-B3F8-0B587FC33E3B}" srcOrd="6" destOrd="0" parTransId="{6D4F6CFE-717B-46CE-9876-7C904312C07F}" sibTransId="{57454D4F-3791-4ABF-A2BC-076FD55B9CF3}"/>
    <dgm:cxn modelId="{3A57C3D0-2FDA-4BF1-89DB-CD5741083A75}" srcId="{FC295B7D-F857-4701-B417-8CA96F6BFFDD}" destId="{12382D85-ACFD-490F-888C-2114F27C4BF7}" srcOrd="10" destOrd="0" parTransId="{A7AB244B-E027-42E7-B6E3-5D858C1419CA}" sibTransId="{9922AC5B-B516-4927-B774-10F116070995}"/>
    <dgm:cxn modelId="{60D978E0-411C-498F-B2BF-ED02726DC0B0}" type="presOf" srcId="{B901B503-3290-41FB-B3F8-0B587FC33E3B}" destId="{6B98CBCD-E89E-4180-8377-1128BB900E75}" srcOrd="0" destOrd="0" presId="urn:microsoft.com/office/officeart/2005/8/layout/hChevron3"/>
    <dgm:cxn modelId="{6668B6E7-1C13-4DC7-A4D8-4E774C5F79A0}" srcId="{FC295B7D-F857-4701-B417-8CA96F6BFFDD}" destId="{C4109414-31C0-4083-AFBC-0DA7D9E02CA5}" srcOrd="5" destOrd="0" parTransId="{306C2B99-300B-44C4-B366-86CC00129EE1}" sibTransId="{D57F9888-59DD-4B8B-8001-885D841C0BC9}"/>
    <dgm:cxn modelId="{2575DBF3-3FAC-4B73-A1A1-483876B34AE7}" srcId="{FC295B7D-F857-4701-B417-8CA96F6BFFDD}" destId="{59C00689-6E1F-4D4F-B61B-93E45C162884}" srcOrd="9" destOrd="0" parTransId="{630BEF09-07F7-4558-A51F-C17A34876320}" sibTransId="{A7649572-3E4D-4ECA-ADCC-1D212F68A805}"/>
    <dgm:cxn modelId="{BBC2CD05-BE99-4BE9-8B50-CF4D28022165}" type="presParOf" srcId="{EEF8DC9F-A7A5-4737-B6D7-71E40C66DD58}" destId="{1CA2016E-9240-4939-AC74-35F63662D3AC}" srcOrd="0" destOrd="0" presId="urn:microsoft.com/office/officeart/2005/8/layout/hChevron3"/>
    <dgm:cxn modelId="{F0203C37-E732-442F-AE19-E7F361B3A063}" type="presParOf" srcId="{EEF8DC9F-A7A5-4737-B6D7-71E40C66DD58}" destId="{7E86FA99-36AC-4EDE-8AA2-3C83B26A6D7D}" srcOrd="1" destOrd="0" presId="urn:microsoft.com/office/officeart/2005/8/layout/hChevron3"/>
    <dgm:cxn modelId="{51AD80D2-26AE-48FE-B3CE-1AF68A632878}" type="presParOf" srcId="{EEF8DC9F-A7A5-4737-B6D7-71E40C66DD58}" destId="{8B79A64D-9D22-4A79-A270-B7ADD22155D2}" srcOrd="2" destOrd="0" presId="urn:microsoft.com/office/officeart/2005/8/layout/hChevron3"/>
    <dgm:cxn modelId="{0E323538-6FB8-4338-A254-7DB778198979}" type="presParOf" srcId="{EEF8DC9F-A7A5-4737-B6D7-71E40C66DD58}" destId="{67F152AC-FF39-4A5D-908E-235C1FA0FE5A}" srcOrd="3" destOrd="0" presId="urn:microsoft.com/office/officeart/2005/8/layout/hChevron3"/>
    <dgm:cxn modelId="{CF604A35-25CE-41AE-8BBA-97D3100B12EB}" type="presParOf" srcId="{EEF8DC9F-A7A5-4737-B6D7-71E40C66DD58}" destId="{094020EB-3143-4343-84FC-A8D8663415FA}" srcOrd="4" destOrd="0" presId="urn:microsoft.com/office/officeart/2005/8/layout/hChevron3"/>
    <dgm:cxn modelId="{3691FD85-63F1-4177-A9A0-8F041A8F7F42}" type="presParOf" srcId="{EEF8DC9F-A7A5-4737-B6D7-71E40C66DD58}" destId="{2F21F380-3DEB-49B9-802E-D96C60D6DEC0}" srcOrd="5" destOrd="0" presId="urn:microsoft.com/office/officeart/2005/8/layout/hChevron3"/>
    <dgm:cxn modelId="{B825CE78-984A-4825-A9BC-67B4FC7FEDB7}" type="presParOf" srcId="{EEF8DC9F-A7A5-4737-B6D7-71E40C66DD58}" destId="{ECD0462F-FC86-43EC-9EE1-F98A4E3685E5}" srcOrd="6" destOrd="0" presId="urn:microsoft.com/office/officeart/2005/8/layout/hChevron3"/>
    <dgm:cxn modelId="{F0DEBCFF-B2C1-45D7-AE29-A6FEA349086B}" type="presParOf" srcId="{EEF8DC9F-A7A5-4737-B6D7-71E40C66DD58}" destId="{14C6B0AC-EAE3-41F4-A78F-8BCEF6B2062C}" srcOrd="7" destOrd="0" presId="urn:microsoft.com/office/officeart/2005/8/layout/hChevron3"/>
    <dgm:cxn modelId="{4F0B3AAF-122E-40B1-91AC-C866E6A33E0F}" type="presParOf" srcId="{EEF8DC9F-A7A5-4737-B6D7-71E40C66DD58}" destId="{D851844B-5F9B-474F-BF45-9F1571037C6B}" srcOrd="8" destOrd="0" presId="urn:microsoft.com/office/officeart/2005/8/layout/hChevron3"/>
    <dgm:cxn modelId="{7762C01C-8888-4205-940A-3890AEBAAD5A}" type="presParOf" srcId="{EEF8DC9F-A7A5-4737-B6D7-71E40C66DD58}" destId="{D6B97D54-86A1-4294-8AE2-BB16CFC89823}" srcOrd="9" destOrd="0" presId="urn:microsoft.com/office/officeart/2005/8/layout/hChevron3"/>
    <dgm:cxn modelId="{181D047A-7024-499E-8939-C89A8C16FF42}" type="presParOf" srcId="{EEF8DC9F-A7A5-4737-B6D7-71E40C66DD58}" destId="{21EE003F-A6AE-47D0-8F30-7E500E2B43C5}" srcOrd="10" destOrd="0" presId="urn:microsoft.com/office/officeart/2005/8/layout/hChevron3"/>
    <dgm:cxn modelId="{461D789A-B67E-46C0-B193-ED47E8316F31}" type="presParOf" srcId="{EEF8DC9F-A7A5-4737-B6D7-71E40C66DD58}" destId="{73780782-3044-4E1D-80A1-2A421F143FCB}" srcOrd="11" destOrd="0" presId="urn:microsoft.com/office/officeart/2005/8/layout/hChevron3"/>
    <dgm:cxn modelId="{C6BAF284-5307-41D5-A599-44957CD732B2}" type="presParOf" srcId="{EEF8DC9F-A7A5-4737-B6D7-71E40C66DD58}" destId="{6B98CBCD-E89E-4180-8377-1128BB900E75}" srcOrd="12" destOrd="0" presId="urn:microsoft.com/office/officeart/2005/8/layout/hChevron3"/>
    <dgm:cxn modelId="{352AE785-5171-4D3E-B6EF-3B22D2E2077E}" type="presParOf" srcId="{EEF8DC9F-A7A5-4737-B6D7-71E40C66DD58}" destId="{7532E259-5AF4-4BE9-8827-7DA286DF1CEB}" srcOrd="13" destOrd="0" presId="urn:microsoft.com/office/officeart/2005/8/layout/hChevron3"/>
    <dgm:cxn modelId="{10BA4780-6A9F-43FE-AF11-C848BCE0CC18}" type="presParOf" srcId="{EEF8DC9F-A7A5-4737-B6D7-71E40C66DD58}" destId="{AF814335-286D-4A63-9B4D-2D3466461DDB}" srcOrd="14" destOrd="0" presId="urn:microsoft.com/office/officeart/2005/8/layout/hChevron3"/>
    <dgm:cxn modelId="{D8EEA65A-A9AC-470F-8D3C-84D61D64504F}" type="presParOf" srcId="{EEF8DC9F-A7A5-4737-B6D7-71E40C66DD58}" destId="{9E772E0C-A598-4235-BC54-43B82487BE6B}" srcOrd="15" destOrd="0" presId="urn:microsoft.com/office/officeart/2005/8/layout/hChevron3"/>
    <dgm:cxn modelId="{2306827D-8A75-4C05-81CC-927CC5421D63}" type="presParOf" srcId="{EEF8DC9F-A7A5-4737-B6D7-71E40C66DD58}" destId="{A10BF886-FB56-4505-A18A-A6E570242149}" srcOrd="16" destOrd="0" presId="urn:microsoft.com/office/officeart/2005/8/layout/hChevron3"/>
    <dgm:cxn modelId="{8AC25B6D-A7AB-416B-934D-145C5A954D36}" type="presParOf" srcId="{EEF8DC9F-A7A5-4737-B6D7-71E40C66DD58}" destId="{B1B1D131-C83B-45DF-87BB-551769A4FBC2}" srcOrd="17" destOrd="0" presId="urn:microsoft.com/office/officeart/2005/8/layout/hChevron3"/>
    <dgm:cxn modelId="{45D29DDD-7576-4BF9-AA58-8D20A4231A26}" type="presParOf" srcId="{EEF8DC9F-A7A5-4737-B6D7-71E40C66DD58}" destId="{395877A3-2998-45B1-8766-D05006EF8E29}" srcOrd="18" destOrd="0" presId="urn:microsoft.com/office/officeart/2005/8/layout/hChevron3"/>
    <dgm:cxn modelId="{59D46CB9-123C-4B81-B0E3-37C9110DED65}" type="presParOf" srcId="{EEF8DC9F-A7A5-4737-B6D7-71E40C66DD58}" destId="{E51B4D1F-BE70-4027-A953-1181740A4BB8}" srcOrd="19" destOrd="0" presId="urn:microsoft.com/office/officeart/2005/8/layout/hChevron3"/>
    <dgm:cxn modelId="{16C2B860-76BD-4DAE-A2A2-8E257EB4D8BF}" type="presParOf" srcId="{EEF8DC9F-A7A5-4737-B6D7-71E40C66DD58}" destId="{A379D365-20DF-4073-A1AB-BA299F9B590E}" srcOrd="20" destOrd="0" presId="urn:microsoft.com/office/officeart/2005/8/layout/hChevron3"/>
    <dgm:cxn modelId="{DDE2C823-8978-4656-ACB5-1317E77F2F6D}" type="presParOf" srcId="{EEF8DC9F-A7A5-4737-B6D7-71E40C66DD58}" destId="{90BD7D04-31E3-477D-8AA8-26AD80BB62E0}" srcOrd="21" destOrd="0" presId="urn:microsoft.com/office/officeart/2005/8/layout/hChevron3"/>
    <dgm:cxn modelId="{F5824407-8719-47CE-91EF-DE0227EDDB67}" type="presParOf" srcId="{EEF8DC9F-A7A5-4737-B6D7-71E40C66DD58}" destId="{3ED65369-217E-4D49-9F64-4471C6F48357}" srcOrd="22" destOrd="0" presId="urn:microsoft.com/office/officeart/2005/8/layout/hChevron3"/>
    <dgm:cxn modelId="{338838B8-546A-42B9-9C18-CD34E31DC45C}" type="presParOf" srcId="{EEF8DC9F-A7A5-4737-B6D7-71E40C66DD58}" destId="{1E8306B6-1370-4444-B39B-692DFBDC6CFD}" srcOrd="23" destOrd="0" presId="urn:microsoft.com/office/officeart/2005/8/layout/hChevron3"/>
    <dgm:cxn modelId="{023BBC86-6F0B-428E-A7B9-E7A266696288}" type="presParOf" srcId="{EEF8DC9F-A7A5-4737-B6D7-71E40C66DD58}" destId="{2D49D640-C7D1-4468-B187-B2874A901B0B}" srcOrd="24" destOrd="0" presId="urn:microsoft.com/office/officeart/2005/8/layout/hChevron3"/>
    <dgm:cxn modelId="{9A79F27C-0D5C-463E-9C67-BC68518626B1}" type="presParOf" srcId="{EEF8DC9F-A7A5-4737-B6D7-71E40C66DD58}" destId="{BB666EE6-0491-4B9A-A011-5CC94620A38F}" srcOrd="25" destOrd="0" presId="urn:microsoft.com/office/officeart/2005/8/layout/hChevron3"/>
    <dgm:cxn modelId="{FA173660-D176-420D-95DA-9B24168CEBA5}" type="presParOf" srcId="{EEF8DC9F-A7A5-4737-B6D7-71E40C66DD58}" destId="{FF492FC4-140E-4C27-B8F3-3E7AF3B20685}" srcOrd="2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C295B7D-F857-4701-B417-8CA96F6BFFDD}" type="doc">
      <dgm:prSet loTypeId="urn:microsoft.com/office/officeart/2005/8/layout/hChevron3" loCatId="process" qsTypeId="urn:microsoft.com/office/officeart/2005/8/quickstyle/simple1" qsCatId="simple" csTypeId="urn:microsoft.com/office/officeart/2005/8/colors/accent1_4" csCatId="accent1" phldr="1"/>
      <dgm:spPr/>
    </dgm:pt>
    <dgm:pt modelId="{A53DFD9A-4278-42D6-A32D-23B9914C2737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Jan</a:t>
          </a:r>
        </a:p>
      </dgm:t>
    </dgm:pt>
    <dgm:pt modelId="{C30E3508-CF4C-4B17-87E1-A6BED450C84C}" type="parTrans" cxnId="{9568A93D-94F9-4966-83A3-C88683C6E04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F913E39C-95FC-4BA4-ACCA-4E5091F2C97B}" type="sibTrans" cxnId="{9568A93D-94F9-4966-83A3-C88683C6E04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63EB9005-20D6-42A4-8C4A-7C18913D6523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Feb</a:t>
          </a:r>
          <a:endParaRPr lang="nb-NO" sz="1600">
            <a:solidFill>
              <a:schemeClr val="tx1"/>
            </a:solidFill>
          </a:endParaRPr>
        </a:p>
      </dgm:t>
    </dgm:pt>
    <dgm:pt modelId="{25DDDD1A-08A4-409F-999B-57C5FB8AB6CB}" type="parTrans" cxnId="{E8394DAF-9D12-4B0A-896C-47AF58C463C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3C1E42E-ED5E-4F1D-A7CD-F9740C80DF3F}" type="sibTrans" cxnId="{E8394DAF-9D12-4B0A-896C-47AF58C463C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8CE7B1C9-0BD2-4462-B32D-4D31702C3E76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Mars</a:t>
          </a:r>
        </a:p>
      </dgm:t>
    </dgm:pt>
    <dgm:pt modelId="{2AC01C37-0939-40DE-8923-1C6C6C2610E7}" type="parTrans" cxnId="{08293CC0-CF60-46A6-9A8B-B99354DEC368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1939085-C2EE-49FB-A072-89E3A38B12AF}" type="sibTrans" cxnId="{08293CC0-CF60-46A6-9A8B-B99354DEC368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0D86B1FE-AC4F-4FD1-AA3C-F1D7B07E3891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April</a:t>
          </a:r>
        </a:p>
      </dgm:t>
    </dgm:pt>
    <dgm:pt modelId="{9786C803-8CC5-49F3-B443-4FD751F8C0F2}" type="parTrans" cxnId="{CF3A7C11-1D1F-4917-8C1E-F7A6905A066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D0EB1B8E-3D62-436B-81AE-22CFF478D2F7}" type="sibTrans" cxnId="{CF3A7C11-1D1F-4917-8C1E-F7A6905A066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7DD039A-6E5A-40AF-8817-8BECD499E1D2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Mai</a:t>
          </a:r>
        </a:p>
      </dgm:t>
    </dgm:pt>
    <dgm:pt modelId="{2DE9AB6D-5608-41E5-8EE2-B72BA286AE64}" type="parTrans" cxnId="{CF24E739-EC0D-440F-A384-F98ECBC87BE3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3E85B2B3-1759-4FE0-91CD-CCF04ACFDEA0}" type="sibTrans" cxnId="{CF24E739-EC0D-440F-A384-F98ECBC87BE3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4109414-31C0-4083-AFBC-0DA7D9E02CA5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Jun</a:t>
          </a:r>
          <a:endParaRPr lang="nb-NO" sz="1600">
            <a:solidFill>
              <a:schemeClr val="tx1"/>
            </a:solidFill>
          </a:endParaRPr>
        </a:p>
      </dgm:t>
    </dgm:pt>
    <dgm:pt modelId="{306C2B99-300B-44C4-B366-86CC00129EE1}" type="parTrans" cxnId="{6668B6E7-1C13-4DC7-A4D8-4E774C5F79A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D57F9888-59DD-4B8B-8001-885D841C0BC9}" type="sibTrans" cxnId="{6668B6E7-1C13-4DC7-A4D8-4E774C5F79A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901B503-3290-41FB-B3F8-0B587FC33E3B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Jul</a:t>
          </a:r>
        </a:p>
      </dgm:t>
    </dgm:pt>
    <dgm:pt modelId="{6D4F6CFE-717B-46CE-9876-7C904312C07F}" type="parTrans" cxnId="{56B06ACF-81EE-47CE-909C-8309BA40628F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57454D4F-3791-4ABF-A2BC-076FD55B9CF3}" type="sibTrans" cxnId="{56B06ACF-81EE-47CE-909C-8309BA40628F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6ADA94F4-E964-464C-B81A-A5997DE1D7EE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Aug</a:t>
          </a:r>
          <a:endParaRPr lang="nb-NO" sz="1600">
            <a:solidFill>
              <a:schemeClr val="tx1"/>
            </a:solidFill>
          </a:endParaRPr>
        </a:p>
      </dgm:t>
    </dgm:pt>
    <dgm:pt modelId="{B8F8B226-D0E3-4D08-B384-255160124048}" type="parTrans" cxnId="{B2C53778-00A3-4ECB-B45E-D9A80FFF443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75DFA3E5-F7D5-4357-B890-DAE32F1ECAD2}" type="sibTrans" cxnId="{B2C53778-00A3-4ECB-B45E-D9A80FFF443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BE09310-B4AE-4B0A-A01F-157614B446AF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Sept</a:t>
          </a:r>
          <a:endParaRPr lang="nb-NO" sz="1600">
            <a:solidFill>
              <a:schemeClr val="tx1"/>
            </a:solidFill>
          </a:endParaRPr>
        </a:p>
      </dgm:t>
    </dgm:pt>
    <dgm:pt modelId="{58093D7E-E63E-4895-8BC2-606D5BC6CEFF}" type="parTrans" cxnId="{06E96791-C78B-4A04-B271-12030991727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DF7D30C-FA32-432A-953F-93CD0BF53FE5}" type="sibTrans" cxnId="{06E96791-C78B-4A04-B271-12030991727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59C00689-6E1F-4D4F-B61B-93E45C162884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Okt</a:t>
          </a:r>
          <a:endParaRPr lang="nb-NO" sz="1600">
            <a:solidFill>
              <a:schemeClr val="tx1"/>
            </a:solidFill>
          </a:endParaRPr>
        </a:p>
      </dgm:t>
    </dgm:pt>
    <dgm:pt modelId="{630BEF09-07F7-4558-A51F-C17A34876320}" type="parTrans" cxnId="{2575DBF3-3FAC-4B73-A1A1-483876B34AE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A7649572-3E4D-4ECA-ADCC-1D212F68A805}" type="sibTrans" cxnId="{2575DBF3-3FAC-4B73-A1A1-483876B34AE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12382D85-ACFD-490F-888C-2114F27C4BF7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Nov</a:t>
          </a:r>
        </a:p>
      </dgm:t>
    </dgm:pt>
    <dgm:pt modelId="{A7AB244B-E027-42E7-B6E3-5D858C1419CA}" type="parTrans" cxnId="{3A57C3D0-2FDA-4BF1-89DB-CD5741083A75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922AC5B-B516-4927-B774-10F116070995}" type="sibTrans" cxnId="{3A57C3D0-2FDA-4BF1-89DB-CD5741083A75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8EC9E499-5048-4496-9520-D91A43C8118D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Des</a:t>
          </a:r>
        </a:p>
      </dgm:t>
    </dgm:pt>
    <dgm:pt modelId="{E076673E-F3DE-4CFA-A9E3-4364A71E63AB}" type="parTrans" cxnId="{4B114B18-FFCC-4E34-BC14-A8A8466BF32B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36EEDC4-3639-4C95-9876-E0FE934E62ED}" type="sibTrans" cxnId="{4B114B18-FFCC-4E34-BC14-A8A8466BF32B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1BBE3D0C-6B6F-4B3A-A712-A00526757103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Jan</a:t>
          </a:r>
        </a:p>
      </dgm:t>
    </dgm:pt>
    <dgm:pt modelId="{8CA4EF54-DC83-45BA-BB4F-43A94C1BA681}" type="parTrans" cxnId="{A585E6BB-D089-4675-89FE-67D979360D74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AC54404-968E-47F7-A61A-1DA0B1A42840}" type="sibTrans" cxnId="{A585E6BB-D089-4675-89FE-67D979360D74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7C767CE-B71D-44DD-9F07-1172A1A708BB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Feb</a:t>
          </a:r>
          <a:endParaRPr lang="nb-NO" sz="1600">
            <a:solidFill>
              <a:schemeClr val="tx1"/>
            </a:solidFill>
          </a:endParaRPr>
        </a:p>
      </dgm:t>
    </dgm:pt>
    <dgm:pt modelId="{12F37BFB-21C4-4647-BE4A-FB4ADB1A7835}" type="parTrans" cxnId="{48224370-A21D-4159-8E3D-3AA4A5230E72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0DF525DA-6D96-4524-BFE8-E8A7C9CA5F2C}" type="sibTrans" cxnId="{48224370-A21D-4159-8E3D-3AA4A5230E72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EEF8DC9F-A7A5-4737-B6D7-71E40C66DD58}" type="pres">
      <dgm:prSet presAssocID="{FC295B7D-F857-4701-B417-8CA96F6BFFDD}" presName="Name0" presStyleCnt="0">
        <dgm:presLayoutVars>
          <dgm:dir/>
          <dgm:resizeHandles val="exact"/>
        </dgm:presLayoutVars>
      </dgm:prSet>
      <dgm:spPr/>
    </dgm:pt>
    <dgm:pt modelId="{1CA2016E-9240-4939-AC74-35F63662D3AC}" type="pres">
      <dgm:prSet presAssocID="{A53DFD9A-4278-42D6-A32D-23B9914C2737}" presName="parTxOnly" presStyleLbl="node1" presStyleIdx="0" presStyleCnt="14" custScaleY="72955">
        <dgm:presLayoutVars>
          <dgm:bulletEnabled val="1"/>
        </dgm:presLayoutVars>
      </dgm:prSet>
      <dgm:spPr/>
    </dgm:pt>
    <dgm:pt modelId="{7E86FA99-36AC-4EDE-8AA2-3C83B26A6D7D}" type="pres">
      <dgm:prSet presAssocID="{F913E39C-95FC-4BA4-ACCA-4E5091F2C97B}" presName="parSpace" presStyleCnt="0"/>
      <dgm:spPr/>
    </dgm:pt>
    <dgm:pt modelId="{8B79A64D-9D22-4A79-A270-B7ADD22155D2}" type="pres">
      <dgm:prSet presAssocID="{63EB9005-20D6-42A4-8C4A-7C18913D6523}" presName="parTxOnly" presStyleLbl="node1" presStyleIdx="1" presStyleCnt="14" custScaleY="72955">
        <dgm:presLayoutVars>
          <dgm:bulletEnabled val="1"/>
        </dgm:presLayoutVars>
      </dgm:prSet>
      <dgm:spPr/>
    </dgm:pt>
    <dgm:pt modelId="{67F152AC-FF39-4A5D-908E-235C1FA0FE5A}" type="pres">
      <dgm:prSet presAssocID="{93C1E42E-ED5E-4F1D-A7CD-F9740C80DF3F}" presName="parSpace" presStyleCnt="0"/>
      <dgm:spPr/>
    </dgm:pt>
    <dgm:pt modelId="{094020EB-3143-4343-84FC-A8D8663415FA}" type="pres">
      <dgm:prSet presAssocID="{8CE7B1C9-0BD2-4462-B32D-4D31702C3E76}" presName="parTxOnly" presStyleLbl="node1" presStyleIdx="2" presStyleCnt="14" custScaleY="72955">
        <dgm:presLayoutVars>
          <dgm:bulletEnabled val="1"/>
        </dgm:presLayoutVars>
      </dgm:prSet>
      <dgm:spPr/>
    </dgm:pt>
    <dgm:pt modelId="{2F21F380-3DEB-49B9-802E-D96C60D6DEC0}" type="pres">
      <dgm:prSet presAssocID="{B1939085-C2EE-49FB-A072-89E3A38B12AF}" presName="parSpace" presStyleCnt="0"/>
      <dgm:spPr/>
    </dgm:pt>
    <dgm:pt modelId="{ECD0462F-FC86-43EC-9EE1-F98A4E3685E5}" type="pres">
      <dgm:prSet presAssocID="{0D86B1FE-AC4F-4FD1-AA3C-F1D7B07E3891}" presName="parTxOnly" presStyleLbl="node1" presStyleIdx="3" presStyleCnt="14" custScaleY="72955">
        <dgm:presLayoutVars>
          <dgm:bulletEnabled val="1"/>
        </dgm:presLayoutVars>
      </dgm:prSet>
      <dgm:spPr/>
    </dgm:pt>
    <dgm:pt modelId="{14C6B0AC-EAE3-41F4-A78F-8BCEF6B2062C}" type="pres">
      <dgm:prSet presAssocID="{D0EB1B8E-3D62-436B-81AE-22CFF478D2F7}" presName="parSpace" presStyleCnt="0"/>
      <dgm:spPr/>
    </dgm:pt>
    <dgm:pt modelId="{D851844B-5F9B-474F-BF45-9F1571037C6B}" type="pres">
      <dgm:prSet presAssocID="{97DD039A-6E5A-40AF-8817-8BECD499E1D2}" presName="parTxOnly" presStyleLbl="node1" presStyleIdx="4" presStyleCnt="14" custScaleY="72955">
        <dgm:presLayoutVars>
          <dgm:bulletEnabled val="1"/>
        </dgm:presLayoutVars>
      </dgm:prSet>
      <dgm:spPr/>
    </dgm:pt>
    <dgm:pt modelId="{D6B97D54-86A1-4294-8AE2-BB16CFC89823}" type="pres">
      <dgm:prSet presAssocID="{3E85B2B3-1759-4FE0-91CD-CCF04ACFDEA0}" presName="parSpace" presStyleCnt="0"/>
      <dgm:spPr/>
    </dgm:pt>
    <dgm:pt modelId="{21EE003F-A6AE-47D0-8F30-7E500E2B43C5}" type="pres">
      <dgm:prSet presAssocID="{C4109414-31C0-4083-AFBC-0DA7D9E02CA5}" presName="parTxOnly" presStyleLbl="node1" presStyleIdx="5" presStyleCnt="14" custScaleY="72955">
        <dgm:presLayoutVars>
          <dgm:bulletEnabled val="1"/>
        </dgm:presLayoutVars>
      </dgm:prSet>
      <dgm:spPr/>
    </dgm:pt>
    <dgm:pt modelId="{73780782-3044-4E1D-80A1-2A421F143FCB}" type="pres">
      <dgm:prSet presAssocID="{D57F9888-59DD-4B8B-8001-885D841C0BC9}" presName="parSpace" presStyleCnt="0"/>
      <dgm:spPr/>
    </dgm:pt>
    <dgm:pt modelId="{6B98CBCD-E89E-4180-8377-1128BB900E75}" type="pres">
      <dgm:prSet presAssocID="{B901B503-3290-41FB-B3F8-0B587FC33E3B}" presName="parTxOnly" presStyleLbl="node1" presStyleIdx="6" presStyleCnt="14" custScaleY="72955">
        <dgm:presLayoutVars>
          <dgm:bulletEnabled val="1"/>
        </dgm:presLayoutVars>
      </dgm:prSet>
      <dgm:spPr/>
    </dgm:pt>
    <dgm:pt modelId="{7532E259-5AF4-4BE9-8827-7DA286DF1CEB}" type="pres">
      <dgm:prSet presAssocID="{57454D4F-3791-4ABF-A2BC-076FD55B9CF3}" presName="parSpace" presStyleCnt="0"/>
      <dgm:spPr/>
    </dgm:pt>
    <dgm:pt modelId="{AF814335-286D-4A63-9B4D-2D3466461DDB}" type="pres">
      <dgm:prSet presAssocID="{6ADA94F4-E964-464C-B81A-A5997DE1D7EE}" presName="parTxOnly" presStyleLbl="node1" presStyleIdx="7" presStyleCnt="14" custScaleY="72955">
        <dgm:presLayoutVars>
          <dgm:bulletEnabled val="1"/>
        </dgm:presLayoutVars>
      </dgm:prSet>
      <dgm:spPr/>
    </dgm:pt>
    <dgm:pt modelId="{9E772E0C-A598-4235-BC54-43B82487BE6B}" type="pres">
      <dgm:prSet presAssocID="{75DFA3E5-F7D5-4357-B890-DAE32F1ECAD2}" presName="parSpace" presStyleCnt="0"/>
      <dgm:spPr/>
    </dgm:pt>
    <dgm:pt modelId="{A10BF886-FB56-4505-A18A-A6E570242149}" type="pres">
      <dgm:prSet presAssocID="{BBE09310-B4AE-4B0A-A01F-157614B446AF}" presName="parTxOnly" presStyleLbl="node1" presStyleIdx="8" presStyleCnt="14" custScaleY="72955">
        <dgm:presLayoutVars>
          <dgm:bulletEnabled val="1"/>
        </dgm:presLayoutVars>
      </dgm:prSet>
      <dgm:spPr/>
    </dgm:pt>
    <dgm:pt modelId="{B1B1D131-C83B-45DF-87BB-551769A4FBC2}" type="pres">
      <dgm:prSet presAssocID="{CDF7D30C-FA32-432A-953F-93CD0BF53FE5}" presName="parSpace" presStyleCnt="0"/>
      <dgm:spPr/>
    </dgm:pt>
    <dgm:pt modelId="{395877A3-2998-45B1-8766-D05006EF8E29}" type="pres">
      <dgm:prSet presAssocID="{59C00689-6E1F-4D4F-B61B-93E45C162884}" presName="parTxOnly" presStyleLbl="node1" presStyleIdx="9" presStyleCnt="14" custScaleY="72955">
        <dgm:presLayoutVars>
          <dgm:bulletEnabled val="1"/>
        </dgm:presLayoutVars>
      </dgm:prSet>
      <dgm:spPr/>
    </dgm:pt>
    <dgm:pt modelId="{E51B4D1F-BE70-4027-A953-1181740A4BB8}" type="pres">
      <dgm:prSet presAssocID="{A7649572-3E4D-4ECA-ADCC-1D212F68A805}" presName="parSpace" presStyleCnt="0"/>
      <dgm:spPr/>
    </dgm:pt>
    <dgm:pt modelId="{A379D365-20DF-4073-A1AB-BA299F9B590E}" type="pres">
      <dgm:prSet presAssocID="{12382D85-ACFD-490F-888C-2114F27C4BF7}" presName="parTxOnly" presStyleLbl="node1" presStyleIdx="10" presStyleCnt="14" custScaleY="72955">
        <dgm:presLayoutVars>
          <dgm:bulletEnabled val="1"/>
        </dgm:presLayoutVars>
      </dgm:prSet>
      <dgm:spPr/>
    </dgm:pt>
    <dgm:pt modelId="{90BD7D04-31E3-477D-8AA8-26AD80BB62E0}" type="pres">
      <dgm:prSet presAssocID="{9922AC5B-B516-4927-B774-10F116070995}" presName="parSpace" presStyleCnt="0"/>
      <dgm:spPr/>
    </dgm:pt>
    <dgm:pt modelId="{3ED65369-217E-4D49-9F64-4471C6F48357}" type="pres">
      <dgm:prSet presAssocID="{8EC9E499-5048-4496-9520-D91A43C8118D}" presName="parTxOnly" presStyleLbl="node1" presStyleIdx="11" presStyleCnt="14" custScaleY="72955">
        <dgm:presLayoutVars>
          <dgm:bulletEnabled val="1"/>
        </dgm:presLayoutVars>
      </dgm:prSet>
      <dgm:spPr/>
    </dgm:pt>
    <dgm:pt modelId="{1E8306B6-1370-4444-B39B-692DFBDC6CFD}" type="pres">
      <dgm:prSet presAssocID="{B36EEDC4-3639-4C95-9876-E0FE934E62ED}" presName="parSpace" presStyleCnt="0"/>
      <dgm:spPr/>
    </dgm:pt>
    <dgm:pt modelId="{2D49D640-C7D1-4468-B187-B2874A901B0B}" type="pres">
      <dgm:prSet presAssocID="{1BBE3D0C-6B6F-4B3A-A712-A00526757103}" presName="parTxOnly" presStyleLbl="node1" presStyleIdx="12" presStyleCnt="14" custScaleY="72955">
        <dgm:presLayoutVars>
          <dgm:bulletEnabled val="1"/>
        </dgm:presLayoutVars>
      </dgm:prSet>
      <dgm:spPr/>
    </dgm:pt>
    <dgm:pt modelId="{BB666EE6-0491-4B9A-A011-5CC94620A38F}" type="pres">
      <dgm:prSet presAssocID="{CAC54404-968E-47F7-A61A-1DA0B1A42840}" presName="parSpace" presStyleCnt="0"/>
      <dgm:spPr/>
    </dgm:pt>
    <dgm:pt modelId="{FF492FC4-140E-4C27-B8F3-3E7AF3B20685}" type="pres">
      <dgm:prSet presAssocID="{C7C767CE-B71D-44DD-9F07-1172A1A708BB}" presName="parTxOnly" presStyleLbl="node1" presStyleIdx="13" presStyleCnt="14" custScaleY="72955">
        <dgm:presLayoutVars>
          <dgm:bulletEnabled val="1"/>
        </dgm:presLayoutVars>
      </dgm:prSet>
      <dgm:spPr/>
    </dgm:pt>
  </dgm:ptLst>
  <dgm:cxnLst>
    <dgm:cxn modelId="{FED5B103-1C66-4321-A002-4F6D451F46E1}" type="presOf" srcId="{97DD039A-6E5A-40AF-8817-8BECD499E1D2}" destId="{D851844B-5F9B-474F-BF45-9F1571037C6B}" srcOrd="0" destOrd="0" presId="urn:microsoft.com/office/officeart/2005/8/layout/hChevron3"/>
    <dgm:cxn modelId="{FDB73E04-4643-4051-B61F-32206937C126}" type="presOf" srcId="{1BBE3D0C-6B6F-4B3A-A712-A00526757103}" destId="{2D49D640-C7D1-4468-B187-B2874A901B0B}" srcOrd="0" destOrd="0" presId="urn:microsoft.com/office/officeart/2005/8/layout/hChevron3"/>
    <dgm:cxn modelId="{CF3A7C11-1D1F-4917-8C1E-F7A6905A066D}" srcId="{FC295B7D-F857-4701-B417-8CA96F6BFFDD}" destId="{0D86B1FE-AC4F-4FD1-AA3C-F1D7B07E3891}" srcOrd="3" destOrd="0" parTransId="{9786C803-8CC5-49F3-B443-4FD751F8C0F2}" sibTransId="{D0EB1B8E-3D62-436B-81AE-22CFF478D2F7}"/>
    <dgm:cxn modelId="{4B114B18-FFCC-4E34-BC14-A8A8466BF32B}" srcId="{FC295B7D-F857-4701-B417-8CA96F6BFFDD}" destId="{8EC9E499-5048-4496-9520-D91A43C8118D}" srcOrd="11" destOrd="0" parTransId="{E076673E-F3DE-4CFA-A9E3-4364A71E63AB}" sibTransId="{B36EEDC4-3639-4C95-9876-E0FE934E62ED}"/>
    <dgm:cxn modelId="{B0D30623-49E5-4E75-BDEE-C8BF368B313C}" type="presOf" srcId="{FC295B7D-F857-4701-B417-8CA96F6BFFDD}" destId="{EEF8DC9F-A7A5-4737-B6D7-71E40C66DD58}" srcOrd="0" destOrd="0" presId="urn:microsoft.com/office/officeart/2005/8/layout/hChevron3"/>
    <dgm:cxn modelId="{CF24E739-EC0D-440F-A384-F98ECBC87BE3}" srcId="{FC295B7D-F857-4701-B417-8CA96F6BFFDD}" destId="{97DD039A-6E5A-40AF-8817-8BECD499E1D2}" srcOrd="4" destOrd="0" parTransId="{2DE9AB6D-5608-41E5-8EE2-B72BA286AE64}" sibTransId="{3E85B2B3-1759-4FE0-91CD-CCF04ACFDEA0}"/>
    <dgm:cxn modelId="{9568A93D-94F9-4966-83A3-C88683C6E04D}" srcId="{FC295B7D-F857-4701-B417-8CA96F6BFFDD}" destId="{A53DFD9A-4278-42D6-A32D-23B9914C2737}" srcOrd="0" destOrd="0" parTransId="{C30E3508-CF4C-4B17-87E1-A6BED450C84C}" sibTransId="{F913E39C-95FC-4BA4-ACCA-4E5091F2C97B}"/>
    <dgm:cxn modelId="{06509E40-E1EE-451C-BA75-8C2693C07295}" type="presOf" srcId="{59C00689-6E1F-4D4F-B61B-93E45C162884}" destId="{395877A3-2998-45B1-8766-D05006EF8E29}" srcOrd="0" destOrd="0" presId="urn:microsoft.com/office/officeart/2005/8/layout/hChevron3"/>
    <dgm:cxn modelId="{614B1048-AD29-4587-A462-527E202C49A3}" type="presOf" srcId="{8CE7B1C9-0BD2-4462-B32D-4D31702C3E76}" destId="{094020EB-3143-4343-84FC-A8D8663415FA}" srcOrd="0" destOrd="0" presId="urn:microsoft.com/office/officeart/2005/8/layout/hChevron3"/>
    <dgm:cxn modelId="{0B37EC69-6685-4A2E-B930-CE41DCF5CB7B}" type="presOf" srcId="{0D86B1FE-AC4F-4FD1-AA3C-F1D7B07E3891}" destId="{ECD0462F-FC86-43EC-9EE1-F98A4E3685E5}" srcOrd="0" destOrd="0" presId="urn:microsoft.com/office/officeart/2005/8/layout/hChevron3"/>
    <dgm:cxn modelId="{48224370-A21D-4159-8E3D-3AA4A5230E72}" srcId="{FC295B7D-F857-4701-B417-8CA96F6BFFDD}" destId="{C7C767CE-B71D-44DD-9F07-1172A1A708BB}" srcOrd="13" destOrd="0" parTransId="{12F37BFB-21C4-4647-BE4A-FB4ADB1A7835}" sibTransId="{0DF525DA-6D96-4524-BFE8-E8A7C9CA5F2C}"/>
    <dgm:cxn modelId="{7CBD5952-274C-45EF-8FAF-9CBC6A0E51D6}" type="presOf" srcId="{A53DFD9A-4278-42D6-A32D-23B9914C2737}" destId="{1CA2016E-9240-4939-AC74-35F63662D3AC}" srcOrd="0" destOrd="0" presId="urn:microsoft.com/office/officeart/2005/8/layout/hChevron3"/>
    <dgm:cxn modelId="{B2C53778-00A3-4ECB-B45E-D9A80FFF4430}" srcId="{FC295B7D-F857-4701-B417-8CA96F6BFFDD}" destId="{6ADA94F4-E964-464C-B81A-A5997DE1D7EE}" srcOrd="7" destOrd="0" parTransId="{B8F8B226-D0E3-4D08-B384-255160124048}" sibTransId="{75DFA3E5-F7D5-4357-B890-DAE32F1ECAD2}"/>
    <dgm:cxn modelId="{755D1F8B-CC6E-4B2E-8499-00ED7E1B81E1}" type="presOf" srcId="{C4109414-31C0-4083-AFBC-0DA7D9E02CA5}" destId="{21EE003F-A6AE-47D0-8F30-7E500E2B43C5}" srcOrd="0" destOrd="0" presId="urn:microsoft.com/office/officeart/2005/8/layout/hChevron3"/>
    <dgm:cxn modelId="{06E96791-C78B-4A04-B271-120309917277}" srcId="{FC295B7D-F857-4701-B417-8CA96F6BFFDD}" destId="{BBE09310-B4AE-4B0A-A01F-157614B446AF}" srcOrd="8" destOrd="0" parTransId="{58093D7E-E63E-4895-8BC2-606D5BC6CEFF}" sibTransId="{CDF7D30C-FA32-432A-953F-93CD0BF53FE5}"/>
    <dgm:cxn modelId="{05DF6F9B-635A-466C-A3E4-29E6C351B3A5}" type="presOf" srcId="{6ADA94F4-E964-464C-B81A-A5997DE1D7EE}" destId="{AF814335-286D-4A63-9B4D-2D3466461DDB}" srcOrd="0" destOrd="0" presId="urn:microsoft.com/office/officeart/2005/8/layout/hChevron3"/>
    <dgm:cxn modelId="{05F482A7-E4D3-4CE5-BBB0-FEBDDA1A0715}" type="presOf" srcId="{8EC9E499-5048-4496-9520-D91A43C8118D}" destId="{3ED65369-217E-4D49-9F64-4471C6F48357}" srcOrd="0" destOrd="0" presId="urn:microsoft.com/office/officeart/2005/8/layout/hChevron3"/>
    <dgm:cxn modelId="{E8394DAF-9D12-4B0A-896C-47AF58C463CD}" srcId="{FC295B7D-F857-4701-B417-8CA96F6BFFDD}" destId="{63EB9005-20D6-42A4-8C4A-7C18913D6523}" srcOrd="1" destOrd="0" parTransId="{25DDDD1A-08A4-409F-999B-57C5FB8AB6CB}" sibTransId="{93C1E42E-ED5E-4F1D-A7CD-F9740C80DF3F}"/>
    <dgm:cxn modelId="{61989EB0-1C4B-4BDD-B79D-B201D4A1D2E4}" type="presOf" srcId="{63EB9005-20D6-42A4-8C4A-7C18913D6523}" destId="{8B79A64D-9D22-4A79-A270-B7ADD22155D2}" srcOrd="0" destOrd="0" presId="urn:microsoft.com/office/officeart/2005/8/layout/hChevron3"/>
    <dgm:cxn modelId="{6B7121B2-1FEC-4832-A47B-0A99E724AC73}" type="presOf" srcId="{BBE09310-B4AE-4B0A-A01F-157614B446AF}" destId="{A10BF886-FB56-4505-A18A-A6E570242149}" srcOrd="0" destOrd="0" presId="urn:microsoft.com/office/officeart/2005/8/layout/hChevron3"/>
    <dgm:cxn modelId="{A585E6BB-D089-4675-89FE-67D979360D74}" srcId="{FC295B7D-F857-4701-B417-8CA96F6BFFDD}" destId="{1BBE3D0C-6B6F-4B3A-A712-A00526757103}" srcOrd="12" destOrd="0" parTransId="{8CA4EF54-DC83-45BA-BB4F-43A94C1BA681}" sibTransId="{CAC54404-968E-47F7-A61A-1DA0B1A42840}"/>
    <dgm:cxn modelId="{08293CC0-CF60-46A6-9A8B-B99354DEC368}" srcId="{FC295B7D-F857-4701-B417-8CA96F6BFFDD}" destId="{8CE7B1C9-0BD2-4462-B32D-4D31702C3E76}" srcOrd="2" destOrd="0" parTransId="{2AC01C37-0939-40DE-8923-1C6C6C2610E7}" sibTransId="{B1939085-C2EE-49FB-A072-89E3A38B12AF}"/>
    <dgm:cxn modelId="{15F2F4C3-F0C7-4093-8B53-BC515EE11E5A}" type="presOf" srcId="{12382D85-ACFD-490F-888C-2114F27C4BF7}" destId="{A379D365-20DF-4073-A1AB-BA299F9B590E}" srcOrd="0" destOrd="0" presId="urn:microsoft.com/office/officeart/2005/8/layout/hChevron3"/>
    <dgm:cxn modelId="{091C0BCA-7C60-424B-BAAF-6E61323AF5C6}" type="presOf" srcId="{C7C767CE-B71D-44DD-9F07-1172A1A708BB}" destId="{FF492FC4-140E-4C27-B8F3-3E7AF3B20685}" srcOrd="0" destOrd="0" presId="urn:microsoft.com/office/officeart/2005/8/layout/hChevron3"/>
    <dgm:cxn modelId="{56B06ACF-81EE-47CE-909C-8309BA40628F}" srcId="{FC295B7D-F857-4701-B417-8CA96F6BFFDD}" destId="{B901B503-3290-41FB-B3F8-0B587FC33E3B}" srcOrd="6" destOrd="0" parTransId="{6D4F6CFE-717B-46CE-9876-7C904312C07F}" sibTransId="{57454D4F-3791-4ABF-A2BC-076FD55B9CF3}"/>
    <dgm:cxn modelId="{3A57C3D0-2FDA-4BF1-89DB-CD5741083A75}" srcId="{FC295B7D-F857-4701-B417-8CA96F6BFFDD}" destId="{12382D85-ACFD-490F-888C-2114F27C4BF7}" srcOrd="10" destOrd="0" parTransId="{A7AB244B-E027-42E7-B6E3-5D858C1419CA}" sibTransId="{9922AC5B-B516-4927-B774-10F116070995}"/>
    <dgm:cxn modelId="{60D978E0-411C-498F-B2BF-ED02726DC0B0}" type="presOf" srcId="{B901B503-3290-41FB-B3F8-0B587FC33E3B}" destId="{6B98CBCD-E89E-4180-8377-1128BB900E75}" srcOrd="0" destOrd="0" presId="urn:microsoft.com/office/officeart/2005/8/layout/hChevron3"/>
    <dgm:cxn modelId="{6668B6E7-1C13-4DC7-A4D8-4E774C5F79A0}" srcId="{FC295B7D-F857-4701-B417-8CA96F6BFFDD}" destId="{C4109414-31C0-4083-AFBC-0DA7D9E02CA5}" srcOrd="5" destOrd="0" parTransId="{306C2B99-300B-44C4-B366-86CC00129EE1}" sibTransId="{D57F9888-59DD-4B8B-8001-885D841C0BC9}"/>
    <dgm:cxn modelId="{2575DBF3-3FAC-4B73-A1A1-483876B34AE7}" srcId="{FC295B7D-F857-4701-B417-8CA96F6BFFDD}" destId="{59C00689-6E1F-4D4F-B61B-93E45C162884}" srcOrd="9" destOrd="0" parTransId="{630BEF09-07F7-4558-A51F-C17A34876320}" sibTransId="{A7649572-3E4D-4ECA-ADCC-1D212F68A805}"/>
    <dgm:cxn modelId="{BBC2CD05-BE99-4BE9-8B50-CF4D28022165}" type="presParOf" srcId="{EEF8DC9F-A7A5-4737-B6D7-71E40C66DD58}" destId="{1CA2016E-9240-4939-AC74-35F63662D3AC}" srcOrd="0" destOrd="0" presId="urn:microsoft.com/office/officeart/2005/8/layout/hChevron3"/>
    <dgm:cxn modelId="{F0203C37-E732-442F-AE19-E7F361B3A063}" type="presParOf" srcId="{EEF8DC9F-A7A5-4737-B6D7-71E40C66DD58}" destId="{7E86FA99-36AC-4EDE-8AA2-3C83B26A6D7D}" srcOrd="1" destOrd="0" presId="urn:microsoft.com/office/officeart/2005/8/layout/hChevron3"/>
    <dgm:cxn modelId="{51AD80D2-26AE-48FE-B3CE-1AF68A632878}" type="presParOf" srcId="{EEF8DC9F-A7A5-4737-B6D7-71E40C66DD58}" destId="{8B79A64D-9D22-4A79-A270-B7ADD22155D2}" srcOrd="2" destOrd="0" presId="urn:microsoft.com/office/officeart/2005/8/layout/hChevron3"/>
    <dgm:cxn modelId="{0E323538-6FB8-4338-A254-7DB778198979}" type="presParOf" srcId="{EEF8DC9F-A7A5-4737-B6D7-71E40C66DD58}" destId="{67F152AC-FF39-4A5D-908E-235C1FA0FE5A}" srcOrd="3" destOrd="0" presId="urn:microsoft.com/office/officeart/2005/8/layout/hChevron3"/>
    <dgm:cxn modelId="{CF604A35-25CE-41AE-8BBA-97D3100B12EB}" type="presParOf" srcId="{EEF8DC9F-A7A5-4737-B6D7-71E40C66DD58}" destId="{094020EB-3143-4343-84FC-A8D8663415FA}" srcOrd="4" destOrd="0" presId="urn:microsoft.com/office/officeart/2005/8/layout/hChevron3"/>
    <dgm:cxn modelId="{3691FD85-63F1-4177-A9A0-8F041A8F7F42}" type="presParOf" srcId="{EEF8DC9F-A7A5-4737-B6D7-71E40C66DD58}" destId="{2F21F380-3DEB-49B9-802E-D96C60D6DEC0}" srcOrd="5" destOrd="0" presId="urn:microsoft.com/office/officeart/2005/8/layout/hChevron3"/>
    <dgm:cxn modelId="{B825CE78-984A-4825-A9BC-67B4FC7FEDB7}" type="presParOf" srcId="{EEF8DC9F-A7A5-4737-B6D7-71E40C66DD58}" destId="{ECD0462F-FC86-43EC-9EE1-F98A4E3685E5}" srcOrd="6" destOrd="0" presId="urn:microsoft.com/office/officeart/2005/8/layout/hChevron3"/>
    <dgm:cxn modelId="{F0DEBCFF-B2C1-45D7-AE29-A6FEA349086B}" type="presParOf" srcId="{EEF8DC9F-A7A5-4737-B6D7-71E40C66DD58}" destId="{14C6B0AC-EAE3-41F4-A78F-8BCEF6B2062C}" srcOrd="7" destOrd="0" presId="urn:microsoft.com/office/officeart/2005/8/layout/hChevron3"/>
    <dgm:cxn modelId="{4F0B3AAF-122E-40B1-91AC-C866E6A33E0F}" type="presParOf" srcId="{EEF8DC9F-A7A5-4737-B6D7-71E40C66DD58}" destId="{D851844B-5F9B-474F-BF45-9F1571037C6B}" srcOrd="8" destOrd="0" presId="urn:microsoft.com/office/officeart/2005/8/layout/hChevron3"/>
    <dgm:cxn modelId="{7762C01C-8888-4205-940A-3890AEBAAD5A}" type="presParOf" srcId="{EEF8DC9F-A7A5-4737-B6D7-71E40C66DD58}" destId="{D6B97D54-86A1-4294-8AE2-BB16CFC89823}" srcOrd="9" destOrd="0" presId="urn:microsoft.com/office/officeart/2005/8/layout/hChevron3"/>
    <dgm:cxn modelId="{181D047A-7024-499E-8939-C89A8C16FF42}" type="presParOf" srcId="{EEF8DC9F-A7A5-4737-B6D7-71E40C66DD58}" destId="{21EE003F-A6AE-47D0-8F30-7E500E2B43C5}" srcOrd="10" destOrd="0" presId="urn:microsoft.com/office/officeart/2005/8/layout/hChevron3"/>
    <dgm:cxn modelId="{461D789A-B67E-46C0-B193-ED47E8316F31}" type="presParOf" srcId="{EEF8DC9F-A7A5-4737-B6D7-71E40C66DD58}" destId="{73780782-3044-4E1D-80A1-2A421F143FCB}" srcOrd="11" destOrd="0" presId="urn:microsoft.com/office/officeart/2005/8/layout/hChevron3"/>
    <dgm:cxn modelId="{C6BAF284-5307-41D5-A599-44957CD732B2}" type="presParOf" srcId="{EEF8DC9F-A7A5-4737-B6D7-71E40C66DD58}" destId="{6B98CBCD-E89E-4180-8377-1128BB900E75}" srcOrd="12" destOrd="0" presId="urn:microsoft.com/office/officeart/2005/8/layout/hChevron3"/>
    <dgm:cxn modelId="{352AE785-5171-4D3E-B6EF-3B22D2E2077E}" type="presParOf" srcId="{EEF8DC9F-A7A5-4737-B6D7-71E40C66DD58}" destId="{7532E259-5AF4-4BE9-8827-7DA286DF1CEB}" srcOrd="13" destOrd="0" presId="urn:microsoft.com/office/officeart/2005/8/layout/hChevron3"/>
    <dgm:cxn modelId="{10BA4780-6A9F-43FE-AF11-C848BCE0CC18}" type="presParOf" srcId="{EEF8DC9F-A7A5-4737-B6D7-71E40C66DD58}" destId="{AF814335-286D-4A63-9B4D-2D3466461DDB}" srcOrd="14" destOrd="0" presId="urn:microsoft.com/office/officeart/2005/8/layout/hChevron3"/>
    <dgm:cxn modelId="{D8EEA65A-A9AC-470F-8D3C-84D61D64504F}" type="presParOf" srcId="{EEF8DC9F-A7A5-4737-B6D7-71E40C66DD58}" destId="{9E772E0C-A598-4235-BC54-43B82487BE6B}" srcOrd="15" destOrd="0" presId="urn:microsoft.com/office/officeart/2005/8/layout/hChevron3"/>
    <dgm:cxn modelId="{2306827D-8A75-4C05-81CC-927CC5421D63}" type="presParOf" srcId="{EEF8DC9F-A7A5-4737-B6D7-71E40C66DD58}" destId="{A10BF886-FB56-4505-A18A-A6E570242149}" srcOrd="16" destOrd="0" presId="urn:microsoft.com/office/officeart/2005/8/layout/hChevron3"/>
    <dgm:cxn modelId="{8AC25B6D-A7AB-416B-934D-145C5A954D36}" type="presParOf" srcId="{EEF8DC9F-A7A5-4737-B6D7-71E40C66DD58}" destId="{B1B1D131-C83B-45DF-87BB-551769A4FBC2}" srcOrd="17" destOrd="0" presId="urn:microsoft.com/office/officeart/2005/8/layout/hChevron3"/>
    <dgm:cxn modelId="{45D29DDD-7576-4BF9-AA58-8D20A4231A26}" type="presParOf" srcId="{EEF8DC9F-A7A5-4737-B6D7-71E40C66DD58}" destId="{395877A3-2998-45B1-8766-D05006EF8E29}" srcOrd="18" destOrd="0" presId="urn:microsoft.com/office/officeart/2005/8/layout/hChevron3"/>
    <dgm:cxn modelId="{59D46CB9-123C-4B81-B0E3-37C9110DED65}" type="presParOf" srcId="{EEF8DC9F-A7A5-4737-B6D7-71E40C66DD58}" destId="{E51B4D1F-BE70-4027-A953-1181740A4BB8}" srcOrd="19" destOrd="0" presId="urn:microsoft.com/office/officeart/2005/8/layout/hChevron3"/>
    <dgm:cxn modelId="{16C2B860-76BD-4DAE-A2A2-8E257EB4D8BF}" type="presParOf" srcId="{EEF8DC9F-A7A5-4737-B6D7-71E40C66DD58}" destId="{A379D365-20DF-4073-A1AB-BA299F9B590E}" srcOrd="20" destOrd="0" presId="urn:microsoft.com/office/officeart/2005/8/layout/hChevron3"/>
    <dgm:cxn modelId="{DDE2C823-8978-4656-ACB5-1317E77F2F6D}" type="presParOf" srcId="{EEF8DC9F-A7A5-4737-B6D7-71E40C66DD58}" destId="{90BD7D04-31E3-477D-8AA8-26AD80BB62E0}" srcOrd="21" destOrd="0" presId="urn:microsoft.com/office/officeart/2005/8/layout/hChevron3"/>
    <dgm:cxn modelId="{F5824407-8719-47CE-91EF-DE0227EDDB67}" type="presParOf" srcId="{EEF8DC9F-A7A5-4737-B6D7-71E40C66DD58}" destId="{3ED65369-217E-4D49-9F64-4471C6F48357}" srcOrd="22" destOrd="0" presId="urn:microsoft.com/office/officeart/2005/8/layout/hChevron3"/>
    <dgm:cxn modelId="{338838B8-546A-42B9-9C18-CD34E31DC45C}" type="presParOf" srcId="{EEF8DC9F-A7A5-4737-B6D7-71E40C66DD58}" destId="{1E8306B6-1370-4444-B39B-692DFBDC6CFD}" srcOrd="23" destOrd="0" presId="urn:microsoft.com/office/officeart/2005/8/layout/hChevron3"/>
    <dgm:cxn modelId="{023BBC86-6F0B-428E-A7B9-E7A266696288}" type="presParOf" srcId="{EEF8DC9F-A7A5-4737-B6D7-71E40C66DD58}" destId="{2D49D640-C7D1-4468-B187-B2874A901B0B}" srcOrd="24" destOrd="0" presId="urn:microsoft.com/office/officeart/2005/8/layout/hChevron3"/>
    <dgm:cxn modelId="{9A79F27C-0D5C-463E-9C67-BC68518626B1}" type="presParOf" srcId="{EEF8DC9F-A7A5-4737-B6D7-71E40C66DD58}" destId="{BB666EE6-0491-4B9A-A011-5CC94620A38F}" srcOrd="25" destOrd="0" presId="urn:microsoft.com/office/officeart/2005/8/layout/hChevron3"/>
    <dgm:cxn modelId="{FA173660-D176-420D-95DA-9B24168CEBA5}" type="presParOf" srcId="{EEF8DC9F-A7A5-4737-B6D7-71E40C66DD58}" destId="{FF492FC4-140E-4C27-B8F3-3E7AF3B20685}" srcOrd="2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80E8242-65C8-42DE-A0AE-C919471D461B}" type="doc">
      <dgm:prSet loTypeId="urn:microsoft.com/office/officeart/2005/8/layout/chevron1" loCatId="process" qsTypeId="urn:microsoft.com/office/officeart/2005/8/quickstyle/simple1" qsCatId="simple" csTypeId="urn:microsoft.com/office/officeart/2005/8/colors/accent3_1" csCatId="accent3" phldr="1"/>
      <dgm:spPr/>
    </dgm:pt>
    <dgm:pt modelId="{BEDD61B1-22D0-4BFF-AE4B-4854FA3E80C9}">
      <dgm:prSet phldrT="[Text]"/>
      <dgm:spPr>
        <a:solidFill>
          <a:srgbClr val="92D050"/>
        </a:solidFill>
        <a:ln>
          <a:solidFill>
            <a:schemeClr val="bg1"/>
          </a:solidFill>
        </a:ln>
      </dgm:spPr>
      <dgm:t>
        <a:bodyPr/>
        <a:lstStyle/>
        <a:p>
          <a:r>
            <a:rPr lang="nb-NO" noProof="0"/>
            <a:t>Planlegge integrasjoner</a:t>
          </a:r>
        </a:p>
      </dgm:t>
    </dgm:pt>
    <dgm:pt modelId="{2A60E80D-6E9E-436C-A8EA-03346B4BD886}" type="parTrans" cxnId="{51E67AEC-8A21-4C42-8B0A-769FE04FF98C}">
      <dgm:prSet/>
      <dgm:spPr/>
      <dgm:t>
        <a:bodyPr/>
        <a:lstStyle/>
        <a:p>
          <a:endParaRPr lang="nb-NO"/>
        </a:p>
      </dgm:t>
    </dgm:pt>
    <dgm:pt modelId="{7D3CCF23-392C-4A4A-845A-1C34A97402EA}" type="sibTrans" cxnId="{51E67AEC-8A21-4C42-8B0A-769FE04FF98C}">
      <dgm:prSet/>
      <dgm:spPr/>
      <dgm:t>
        <a:bodyPr/>
        <a:lstStyle/>
        <a:p>
          <a:endParaRPr lang="nb-NO"/>
        </a:p>
      </dgm:t>
    </dgm:pt>
    <dgm:pt modelId="{8A03F8F1-C8F0-43B4-8011-4C5AF1C9D9E5}">
      <dgm:prSet phldrT="[Text]"/>
      <dgm:spPr>
        <a:solidFill>
          <a:srgbClr val="92D050"/>
        </a:solidFill>
        <a:ln>
          <a:solidFill>
            <a:schemeClr val="bg1"/>
          </a:solidFill>
        </a:ln>
      </dgm:spPr>
      <dgm:t>
        <a:bodyPr/>
        <a:lstStyle/>
        <a:p>
          <a:r>
            <a:rPr lang="nb-NO" noProof="0"/>
            <a:t>Remodellering DVH</a:t>
          </a:r>
        </a:p>
      </dgm:t>
    </dgm:pt>
    <dgm:pt modelId="{2689FBA7-15F9-4A5A-A11B-73D3F017C242}" type="parTrans" cxnId="{95568EF6-4557-4E0C-9B23-41B27DC48598}">
      <dgm:prSet/>
      <dgm:spPr/>
      <dgm:t>
        <a:bodyPr/>
        <a:lstStyle/>
        <a:p>
          <a:endParaRPr lang="nb-NO"/>
        </a:p>
      </dgm:t>
    </dgm:pt>
    <dgm:pt modelId="{14C0036C-4E46-4B9A-B7AC-73E1CBF1FCE3}" type="sibTrans" cxnId="{95568EF6-4557-4E0C-9B23-41B27DC48598}">
      <dgm:prSet/>
      <dgm:spPr/>
      <dgm:t>
        <a:bodyPr/>
        <a:lstStyle/>
        <a:p>
          <a:endParaRPr lang="nb-NO"/>
        </a:p>
      </dgm:t>
    </dgm:pt>
    <dgm:pt modelId="{88A2ADB9-7144-465A-B71E-8D8AF8244B44}">
      <dgm:prSet phldrT="[Text]"/>
      <dgm:spPr>
        <a:solidFill>
          <a:srgbClr val="92D050"/>
        </a:solidFill>
        <a:ln>
          <a:solidFill>
            <a:schemeClr val="bg1"/>
          </a:solidFill>
        </a:ln>
      </dgm:spPr>
      <dgm:t>
        <a:bodyPr/>
        <a:lstStyle/>
        <a:p>
          <a:r>
            <a:rPr lang="nb-NO" noProof="0"/>
            <a:t>Remodellering rapporter og moduler</a:t>
          </a:r>
        </a:p>
      </dgm:t>
    </dgm:pt>
    <dgm:pt modelId="{B351AC3C-C88A-4967-BF68-06800A9D0B5C}" type="parTrans" cxnId="{2D5FEE29-616F-4D05-83D7-725E9E524571}">
      <dgm:prSet/>
      <dgm:spPr/>
      <dgm:t>
        <a:bodyPr/>
        <a:lstStyle/>
        <a:p>
          <a:endParaRPr lang="nb-NO"/>
        </a:p>
      </dgm:t>
    </dgm:pt>
    <dgm:pt modelId="{8CBE2686-5787-4D9E-8FAC-2E4281DE40E0}" type="sibTrans" cxnId="{2D5FEE29-616F-4D05-83D7-725E9E524571}">
      <dgm:prSet/>
      <dgm:spPr/>
      <dgm:t>
        <a:bodyPr/>
        <a:lstStyle/>
        <a:p>
          <a:endParaRPr lang="nb-NO"/>
        </a:p>
      </dgm:t>
    </dgm:pt>
    <dgm:pt modelId="{586FC94F-A693-4C5A-BF57-B47072A10361}">
      <dgm:prSet phldrT="[Text]"/>
      <dgm:spPr>
        <a:solidFill>
          <a:srgbClr val="92D050"/>
        </a:solidFill>
        <a:ln>
          <a:solidFill>
            <a:schemeClr val="bg1"/>
          </a:solidFill>
        </a:ln>
      </dgm:spPr>
      <dgm:t>
        <a:bodyPr/>
        <a:lstStyle/>
        <a:p>
          <a:r>
            <a:rPr lang="nb-NO" noProof="0"/>
            <a:t>Remodellering rapporter og moduler</a:t>
          </a:r>
        </a:p>
      </dgm:t>
    </dgm:pt>
    <dgm:pt modelId="{B7520F78-4EA4-4B4B-AE46-40F554869357}" type="parTrans" cxnId="{947A77BB-8555-41FB-84CF-7345A7892A41}">
      <dgm:prSet/>
      <dgm:spPr/>
      <dgm:t>
        <a:bodyPr/>
        <a:lstStyle/>
        <a:p>
          <a:endParaRPr lang="nb-NO"/>
        </a:p>
      </dgm:t>
    </dgm:pt>
    <dgm:pt modelId="{FCE4DA86-DF50-44DC-BE01-1F566FF41BBF}" type="sibTrans" cxnId="{947A77BB-8555-41FB-84CF-7345A7892A41}">
      <dgm:prSet/>
      <dgm:spPr/>
      <dgm:t>
        <a:bodyPr/>
        <a:lstStyle/>
        <a:p>
          <a:endParaRPr lang="nb-NO"/>
        </a:p>
      </dgm:t>
    </dgm:pt>
    <dgm:pt modelId="{58D4579C-49FD-4909-BE6B-4AA0B0F5A596}">
      <dgm:prSet phldrT="[Text]"/>
      <dgm:spPr>
        <a:solidFill>
          <a:srgbClr val="92D050"/>
        </a:solidFill>
        <a:ln>
          <a:solidFill>
            <a:schemeClr val="bg1"/>
          </a:solidFill>
        </a:ln>
      </dgm:spPr>
      <dgm:t>
        <a:bodyPr/>
        <a:lstStyle/>
        <a:p>
          <a:r>
            <a:rPr lang="nb-NO" noProof="0"/>
            <a:t>Tilpassing testfirma DFØ og mapping gamle plandata inn i ny modell (prosjekt)</a:t>
          </a:r>
        </a:p>
      </dgm:t>
    </dgm:pt>
    <dgm:pt modelId="{771B7B1F-5D3F-4796-9F5E-17E42E9AE56C}" type="parTrans" cxnId="{96BA6B98-FC83-42F4-BEBD-D5090FAE1563}">
      <dgm:prSet/>
      <dgm:spPr/>
      <dgm:t>
        <a:bodyPr/>
        <a:lstStyle/>
        <a:p>
          <a:endParaRPr lang="nb-NO"/>
        </a:p>
      </dgm:t>
    </dgm:pt>
    <dgm:pt modelId="{ADDCE810-88D5-48F3-8FC8-98659D49FB26}" type="sibTrans" cxnId="{96BA6B98-FC83-42F4-BEBD-D5090FAE1563}">
      <dgm:prSet/>
      <dgm:spPr/>
      <dgm:t>
        <a:bodyPr/>
        <a:lstStyle/>
        <a:p>
          <a:endParaRPr lang="nb-NO"/>
        </a:p>
      </dgm:t>
    </dgm:pt>
    <dgm:pt modelId="{4FA82D31-EF66-4B44-9139-E1235050E3EB}">
      <dgm:prSet phldrT="[Text]"/>
      <dgm:spPr>
        <a:solidFill>
          <a:srgbClr val="92D050"/>
        </a:solidFill>
        <a:ln>
          <a:solidFill>
            <a:schemeClr val="bg1"/>
          </a:solidFill>
        </a:ln>
      </dgm:spPr>
      <dgm:t>
        <a:bodyPr/>
        <a:lstStyle/>
        <a:p>
          <a:r>
            <a:rPr lang="nb-NO" noProof="0"/>
            <a:t>Nedetid for mapping</a:t>
          </a:r>
        </a:p>
      </dgm:t>
    </dgm:pt>
    <dgm:pt modelId="{4CE9D43E-7D29-4B14-A465-20A156FDB953}" type="parTrans" cxnId="{1579F83D-A393-4734-A7BC-7A07CA6A80B4}">
      <dgm:prSet/>
      <dgm:spPr/>
      <dgm:t>
        <a:bodyPr/>
        <a:lstStyle/>
        <a:p>
          <a:endParaRPr lang="nb-NO"/>
        </a:p>
      </dgm:t>
    </dgm:pt>
    <dgm:pt modelId="{D93A057B-6EA0-40CC-BC59-E8CD53E837E2}" type="sibTrans" cxnId="{1579F83D-A393-4734-A7BC-7A07CA6A80B4}">
      <dgm:prSet/>
      <dgm:spPr/>
      <dgm:t>
        <a:bodyPr/>
        <a:lstStyle/>
        <a:p>
          <a:endParaRPr lang="nb-NO"/>
        </a:p>
      </dgm:t>
    </dgm:pt>
    <dgm:pt modelId="{325E8F49-AC5A-443D-9803-696806910DCD}" type="pres">
      <dgm:prSet presAssocID="{680E8242-65C8-42DE-A0AE-C919471D461B}" presName="Name0" presStyleCnt="0">
        <dgm:presLayoutVars>
          <dgm:dir/>
          <dgm:animLvl val="lvl"/>
          <dgm:resizeHandles val="exact"/>
        </dgm:presLayoutVars>
      </dgm:prSet>
      <dgm:spPr/>
    </dgm:pt>
    <dgm:pt modelId="{B10FC968-B07E-4E0B-95BC-3FCC3841A247}" type="pres">
      <dgm:prSet presAssocID="{BEDD61B1-22D0-4BFF-AE4B-4854FA3E80C9}" presName="parTxOnly" presStyleLbl="node1" presStyleIdx="0" presStyleCnt="6" custScaleY="38037">
        <dgm:presLayoutVars>
          <dgm:chMax val="0"/>
          <dgm:chPref val="0"/>
          <dgm:bulletEnabled val="1"/>
        </dgm:presLayoutVars>
      </dgm:prSet>
      <dgm:spPr/>
    </dgm:pt>
    <dgm:pt modelId="{321C5222-EC61-44A4-AEB6-3F0BD9768AD4}" type="pres">
      <dgm:prSet presAssocID="{7D3CCF23-392C-4A4A-845A-1C34A97402EA}" presName="parTxOnlySpace" presStyleCnt="0"/>
      <dgm:spPr/>
    </dgm:pt>
    <dgm:pt modelId="{432D3C07-0407-4281-A88F-11F2BF303211}" type="pres">
      <dgm:prSet presAssocID="{8A03F8F1-C8F0-43B4-8011-4C5AF1C9D9E5}" presName="parTxOnly" presStyleLbl="node1" presStyleIdx="1" presStyleCnt="6" custScaleX="139431" custScaleY="38037">
        <dgm:presLayoutVars>
          <dgm:chMax val="0"/>
          <dgm:chPref val="0"/>
          <dgm:bulletEnabled val="1"/>
        </dgm:presLayoutVars>
      </dgm:prSet>
      <dgm:spPr/>
    </dgm:pt>
    <dgm:pt modelId="{93DD8A0A-80F5-459C-8096-381B91AC9764}" type="pres">
      <dgm:prSet presAssocID="{14C0036C-4E46-4B9A-B7AC-73E1CBF1FCE3}" presName="parTxOnlySpace" presStyleCnt="0"/>
      <dgm:spPr/>
    </dgm:pt>
    <dgm:pt modelId="{94BA6246-3E8B-4551-A14B-AEA9610E13ED}" type="pres">
      <dgm:prSet presAssocID="{88A2ADB9-7144-465A-B71E-8D8AF8244B44}" presName="parTxOnly" presStyleLbl="node1" presStyleIdx="2" presStyleCnt="6" custScaleX="110325" custScaleY="38037">
        <dgm:presLayoutVars>
          <dgm:chMax val="0"/>
          <dgm:chPref val="0"/>
          <dgm:bulletEnabled val="1"/>
        </dgm:presLayoutVars>
      </dgm:prSet>
      <dgm:spPr/>
    </dgm:pt>
    <dgm:pt modelId="{6D25B4A6-7601-47E5-B3FB-77B5BBC7C877}" type="pres">
      <dgm:prSet presAssocID="{8CBE2686-5787-4D9E-8FAC-2E4281DE40E0}" presName="parTxOnlySpace" presStyleCnt="0"/>
      <dgm:spPr/>
    </dgm:pt>
    <dgm:pt modelId="{727D323C-9DEE-43EE-8E41-FF394CBDB9D4}" type="pres">
      <dgm:prSet presAssocID="{586FC94F-A693-4C5A-BF57-B47072A10361}" presName="parTxOnly" presStyleLbl="node1" presStyleIdx="3" presStyleCnt="6" custScaleX="110325" custScaleY="38037">
        <dgm:presLayoutVars>
          <dgm:chMax val="0"/>
          <dgm:chPref val="0"/>
          <dgm:bulletEnabled val="1"/>
        </dgm:presLayoutVars>
      </dgm:prSet>
      <dgm:spPr/>
    </dgm:pt>
    <dgm:pt modelId="{4024FB24-B5EF-41D2-A76B-9F35D0A0693B}" type="pres">
      <dgm:prSet presAssocID="{FCE4DA86-DF50-44DC-BE01-1F566FF41BBF}" presName="parTxOnlySpace" presStyleCnt="0"/>
      <dgm:spPr/>
    </dgm:pt>
    <dgm:pt modelId="{3A36C0A9-A881-4766-8700-50B4C00E58C9}" type="pres">
      <dgm:prSet presAssocID="{58D4579C-49FD-4909-BE6B-4AA0B0F5A596}" presName="parTxOnly" presStyleLbl="node1" presStyleIdx="4" presStyleCnt="6" custScaleX="110325" custScaleY="38037">
        <dgm:presLayoutVars>
          <dgm:chMax val="0"/>
          <dgm:chPref val="0"/>
          <dgm:bulletEnabled val="1"/>
        </dgm:presLayoutVars>
      </dgm:prSet>
      <dgm:spPr/>
    </dgm:pt>
    <dgm:pt modelId="{E8F72CB2-0E86-46EA-95C9-8361B342AF02}" type="pres">
      <dgm:prSet presAssocID="{ADDCE810-88D5-48F3-8FC8-98659D49FB26}" presName="parTxOnlySpace" presStyleCnt="0"/>
      <dgm:spPr/>
    </dgm:pt>
    <dgm:pt modelId="{24D5E83A-4E3D-4403-BF28-F0FEFE3C8129}" type="pres">
      <dgm:prSet presAssocID="{4FA82D31-EF66-4B44-9139-E1235050E3EB}" presName="parTxOnly" presStyleLbl="node1" presStyleIdx="5" presStyleCnt="6" custScaleX="110325" custScaleY="38037">
        <dgm:presLayoutVars>
          <dgm:chMax val="0"/>
          <dgm:chPref val="0"/>
          <dgm:bulletEnabled val="1"/>
        </dgm:presLayoutVars>
      </dgm:prSet>
      <dgm:spPr/>
    </dgm:pt>
  </dgm:ptLst>
  <dgm:cxnLst>
    <dgm:cxn modelId="{2D5FEE29-616F-4D05-83D7-725E9E524571}" srcId="{680E8242-65C8-42DE-A0AE-C919471D461B}" destId="{88A2ADB9-7144-465A-B71E-8D8AF8244B44}" srcOrd="2" destOrd="0" parTransId="{B351AC3C-C88A-4967-BF68-06800A9D0B5C}" sibTransId="{8CBE2686-5787-4D9E-8FAC-2E4281DE40E0}"/>
    <dgm:cxn modelId="{1579F83D-A393-4734-A7BC-7A07CA6A80B4}" srcId="{680E8242-65C8-42DE-A0AE-C919471D461B}" destId="{4FA82D31-EF66-4B44-9139-E1235050E3EB}" srcOrd="5" destOrd="0" parTransId="{4CE9D43E-7D29-4B14-A465-20A156FDB953}" sibTransId="{D93A057B-6EA0-40CC-BC59-E8CD53E837E2}"/>
    <dgm:cxn modelId="{D4B1AF5C-8CE5-4BC0-AAF6-33960E79C88E}" type="presOf" srcId="{4FA82D31-EF66-4B44-9139-E1235050E3EB}" destId="{24D5E83A-4E3D-4403-BF28-F0FEFE3C8129}" srcOrd="0" destOrd="0" presId="urn:microsoft.com/office/officeart/2005/8/layout/chevron1"/>
    <dgm:cxn modelId="{96BA6B98-FC83-42F4-BEBD-D5090FAE1563}" srcId="{680E8242-65C8-42DE-A0AE-C919471D461B}" destId="{58D4579C-49FD-4909-BE6B-4AA0B0F5A596}" srcOrd="4" destOrd="0" parTransId="{771B7B1F-5D3F-4796-9F5E-17E42E9AE56C}" sibTransId="{ADDCE810-88D5-48F3-8FC8-98659D49FB26}"/>
    <dgm:cxn modelId="{ABAFF7A4-98FE-4457-A4D9-5E716761DAEB}" type="presOf" srcId="{8A03F8F1-C8F0-43B4-8011-4C5AF1C9D9E5}" destId="{432D3C07-0407-4281-A88F-11F2BF303211}" srcOrd="0" destOrd="0" presId="urn:microsoft.com/office/officeart/2005/8/layout/chevron1"/>
    <dgm:cxn modelId="{2E1715A9-3949-4AC2-A74B-9F1FDC75ABDB}" type="presOf" srcId="{58D4579C-49FD-4909-BE6B-4AA0B0F5A596}" destId="{3A36C0A9-A881-4766-8700-50B4C00E58C9}" srcOrd="0" destOrd="0" presId="urn:microsoft.com/office/officeart/2005/8/layout/chevron1"/>
    <dgm:cxn modelId="{947A77BB-8555-41FB-84CF-7345A7892A41}" srcId="{680E8242-65C8-42DE-A0AE-C919471D461B}" destId="{586FC94F-A693-4C5A-BF57-B47072A10361}" srcOrd="3" destOrd="0" parTransId="{B7520F78-4EA4-4B4B-AE46-40F554869357}" sibTransId="{FCE4DA86-DF50-44DC-BE01-1F566FF41BBF}"/>
    <dgm:cxn modelId="{C64E1DC6-A886-482A-8267-7DB905660C73}" type="presOf" srcId="{BEDD61B1-22D0-4BFF-AE4B-4854FA3E80C9}" destId="{B10FC968-B07E-4E0B-95BC-3FCC3841A247}" srcOrd="0" destOrd="0" presId="urn:microsoft.com/office/officeart/2005/8/layout/chevron1"/>
    <dgm:cxn modelId="{4666D1EA-4E0E-42BF-A583-3C5EFBE673A3}" type="presOf" srcId="{88A2ADB9-7144-465A-B71E-8D8AF8244B44}" destId="{94BA6246-3E8B-4551-A14B-AEA9610E13ED}" srcOrd="0" destOrd="0" presId="urn:microsoft.com/office/officeart/2005/8/layout/chevron1"/>
    <dgm:cxn modelId="{51E67AEC-8A21-4C42-8B0A-769FE04FF98C}" srcId="{680E8242-65C8-42DE-A0AE-C919471D461B}" destId="{BEDD61B1-22D0-4BFF-AE4B-4854FA3E80C9}" srcOrd="0" destOrd="0" parTransId="{2A60E80D-6E9E-436C-A8EA-03346B4BD886}" sibTransId="{7D3CCF23-392C-4A4A-845A-1C34A97402EA}"/>
    <dgm:cxn modelId="{95568EF6-4557-4E0C-9B23-41B27DC48598}" srcId="{680E8242-65C8-42DE-A0AE-C919471D461B}" destId="{8A03F8F1-C8F0-43B4-8011-4C5AF1C9D9E5}" srcOrd="1" destOrd="0" parTransId="{2689FBA7-15F9-4A5A-A11B-73D3F017C242}" sibTransId="{14C0036C-4E46-4B9A-B7AC-73E1CBF1FCE3}"/>
    <dgm:cxn modelId="{7F5D83F7-A098-40CC-A7BF-D305FBE1546E}" type="presOf" srcId="{680E8242-65C8-42DE-A0AE-C919471D461B}" destId="{325E8F49-AC5A-443D-9803-696806910DCD}" srcOrd="0" destOrd="0" presId="urn:microsoft.com/office/officeart/2005/8/layout/chevron1"/>
    <dgm:cxn modelId="{FD563AF8-6337-40AD-A80F-22A0A9B16AE4}" type="presOf" srcId="{586FC94F-A693-4C5A-BF57-B47072A10361}" destId="{727D323C-9DEE-43EE-8E41-FF394CBDB9D4}" srcOrd="0" destOrd="0" presId="urn:microsoft.com/office/officeart/2005/8/layout/chevron1"/>
    <dgm:cxn modelId="{96B5F95F-8B86-469F-B0EE-3DAB559A63B3}" type="presParOf" srcId="{325E8F49-AC5A-443D-9803-696806910DCD}" destId="{B10FC968-B07E-4E0B-95BC-3FCC3841A247}" srcOrd="0" destOrd="0" presId="urn:microsoft.com/office/officeart/2005/8/layout/chevron1"/>
    <dgm:cxn modelId="{5D6536D7-8387-430C-9A6F-F53BB3426FD6}" type="presParOf" srcId="{325E8F49-AC5A-443D-9803-696806910DCD}" destId="{321C5222-EC61-44A4-AEB6-3F0BD9768AD4}" srcOrd="1" destOrd="0" presId="urn:microsoft.com/office/officeart/2005/8/layout/chevron1"/>
    <dgm:cxn modelId="{4A4AB221-92C6-4C00-9852-7B4750DD3D3D}" type="presParOf" srcId="{325E8F49-AC5A-443D-9803-696806910DCD}" destId="{432D3C07-0407-4281-A88F-11F2BF303211}" srcOrd="2" destOrd="0" presId="urn:microsoft.com/office/officeart/2005/8/layout/chevron1"/>
    <dgm:cxn modelId="{B7C42E47-9A9A-44D3-BB13-07F553069255}" type="presParOf" srcId="{325E8F49-AC5A-443D-9803-696806910DCD}" destId="{93DD8A0A-80F5-459C-8096-381B91AC9764}" srcOrd="3" destOrd="0" presId="urn:microsoft.com/office/officeart/2005/8/layout/chevron1"/>
    <dgm:cxn modelId="{577F86A9-2B52-49BC-93FB-8788FF4A0728}" type="presParOf" srcId="{325E8F49-AC5A-443D-9803-696806910DCD}" destId="{94BA6246-3E8B-4551-A14B-AEA9610E13ED}" srcOrd="4" destOrd="0" presId="urn:microsoft.com/office/officeart/2005/8/layout/chevron1"/>
    <dgm:cxn modelId="{A2FA9403-0DB7-4AF0-9DA6-74E9052B06B2}" type="presParOf" srcId="{325E8F49-AC5A-443D-9803-696806910DCD}" destId="{6D25B4A6-7601-47E5-B3FB-77B5BBC7C877}" srcOrd="5" destOrd="0" presId="urn:microsoft.com/office/officeart/2005/8/layout/chevron1"/>
    <dgm:cxn modelId="{BE083DDF-2B2F-4AEA-9A63-ABCBE12AE29E}" type="presParOf" srcId="{325E8F49-AC5A-443D-9803-696806910DCD}" destId="{727D323C-9DEE-43EE-8E41-FF394CBDB9D4}" srcOrd="6" destOrd="0" presId="urn:microsoft.com/office/officeart/2005/8/layout/chevron1"/>
    <dgm:cxn modelId="{28ADA645-A253-4963-9FF5-977990787C46}" type="presParOf" srcId="{325E8F49-AC5A-443D-9803-696806910DCD}" destId="{4024FB24-B5EF-41D2-A76B-9F35D0A0693B}" srcOrd="7" destOrd="0" presId="urn:microsoft.com/office/officeart/2005/8/layout/chevron1"/>
    <dgm:cxn modelId="{82BF3897-4808-440E-86B3-F51E6205BD62}" type="presParOf" srcId="{325E8F49-AC5A-443D-9803-696806910DCD}" destId="{3A36C0A9-A881-4766-8700-50B4C00E58C9}" srcOrd="8" destOrd="0" presId="urn:microsoft.com/office/officeart/2005/8/layout/chevron1"/>
    <dgm:cxn modelId="{5916FB7B-B67E-4EE1-8D88-9843DA87B1C1}" type="presParOf" srcId="{325E8F49-AC5A-443D-9803-696806910DCD}" destId="{E8F72CB2-0E86-46EA-95C9-8361B342AF02}" srcOrd="9" destOrd="0" presId="urn:microsoft.com/office/officeart/2005/8/layout/chevron1"/>
    <dgm:cxn modelId="{F70FB542-20DD-4DF8-8403-82E2B8679F29}" type="presParOf" srcId="{325E8F49-AC5A-443D-9803-696806910DCD}" destId="{24D5E83A-4E3D-4403-BF28-F0FEFE3C8129}" srcOrd="10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80E8242-65C8-42DE-A0AE-C919471D461B}" type="doc">
      <dgm:prSet loTypeId="urn:microsoft.com/office/officeart/2005/8/layout/chevron1" loCatId="process" qsTypeId="urn:microsoft.com/office/officeart/2005/8/quickstyle/simple1" qsCatId="simple" csTypeId="urn:microsoft.com/office/officeart/2005/8/colors/colorful5" csCatId="colorful" phldr="1"/>
      <dgm:spPr/>
    </dgm:pt>
    <dgm:pt modelId="{BEDD61B1-22D0-4BFF-AE4B-4854FA3E80C9}">
      <dgm:prSet phldrT="[Text]"/>
      <dgm:spPr>
        <a:solidFill>
          <a:srgbClr val="00B050"/>
        </a:solidFill>
      </dgm:spPr>
      <dgm:t>
        <a:bodyPr/>
        <a:lstStyle/>
        <a:p>
          <a:r>
            <a:rPr lang="nb-NO"/>
            <a:t>Basiskurs BEVISST plan</a:t>
          </a:r>
        </a:p>
      </dgm:t>
    </dgm:pt>
    <dgm:pt modelId="{2A60E80D-6E9E-436C-A8EA-03346B4BD886}" type="parTrans" cxnId="{51E67AEC-8A21-4C42-8B0A-769FE04FF98C}">
      <dgm:prSet/>
      <dgm:spPr/>
      <dgm:t>
        <a:bodyPr/>
        <a:lstStyle/>
        <a:p>
          <a:endParaRPr lang="nb-NO"/>
        </a:p>
      </dgm:t>
    </dgm:pt>
    <dgm:pt modelId="{7D3CCF23-392C-4A4A-845A-1C34A97402EA}" type="sibTrans" cxnId="{51E67AEC-8A21-4C42-8B0A-769FE04FF98C}">
      <dgm:prSet/>
      <dgm:spPr/>
      <dgm:t>
        <a:bodyPr/>
        <a:lstStyle/>
        <a:p>
          <a:endParaRPr lang="nb-NO"/>
        </a:p>
      </dgm:t>
    </dgm:pt>
    <dgm:pt modelId="{8A03F8F1-C8F0-43B4-8011-4C5AF1C9D9E5}">
      <dgm:prSet phldrT="[Text]"/>
      <dgm:spPr>
        <a:solidFill>
          <a:srgbClr val="00B050"/>
        </a:solidFill>
      </dgm:spPr>
      <dgm:t>
        <a:bodyPr/>
        <a:lstStyle/>
        <a:p>
          <a:r>
            <a:rPr lang="nb-NO"/>
            <a:t>PBO-kurs (leveranser)</a:t>
          </a:r>
        </a:p>
      </dgm:t>
    </dgm:pt>
    <dgm:pt modelId="{2689FBA7-15F9-4A5A-A11B-73D3F017C242}" type="parTrans" cxnId="{95568EF6-4557-4E0C-9B23-41B27DC48598}">
      <dgm:prSet/>
      <dgm:spPr/>
      <dgm:t>
        <a:bodyPr/>
        <a:lstStyle/>
        <a:p>
          <a:endParaRPr lang="nb-NO"/>
        </a:p>
      </dgm:t>
    </dgm:pt>
    <dgm:pt modelId="{14C0036C-4E46-4B9A-B7AC-73E1CBF1FCE3}" type="sibTrans" cxnId="{95568EF6-4557-4E0C-9B23-41B27DC48598}">
      <dgm:prSet/>
      <dgm:spPr/>
      <dgm:t>
        <a:bodyPr/>
        <a:lstStyle/>
        <a:p>
          <a:endParaRPr lang="nb-NO"/>
        </a:p>
      </dgm:t>
    </dgm:pt>
    <dgm:pt modelId="{88A2ADB9-7144-465A-B71E-8D8AF8244B44}">
      <dgm:prSet phldrT="[Text]"/>
      <dgm:spPr>
        <a:solidFill>
          <a:srgbClr val="00B050"/>
        </a:solidFill>
      </dgm:spPr>
      <dgm:t>
        <a:bodyPr/>
        <a:lstStyle/>
        <a:p>
          <a:r>
            <a:rPr lang="nb-NO"/>
            <a:t>Evaluering innføring</a:t>
          </a:r>
        </a:p>
      </dgm:t>
    </dgm:pt>
    <dgm:pt modelId="{B351AC3C-C88A-4967-BF68-06800A9D0B5C}" type="parTrans" cxnId="{2D5FEE29-616F-4D05-83D7-725E9E524571}">
      <dgm:prSet/>
      <dgm:spPr/>
      <dgm:t>
        <a:bodyPr/>
        <a:lstStyle/>
        <a:p>
          <a:endParaRPr lang="nb-NO"/>
        </a:p>
      </dgm:t>
    </dgm:pt>
    <dgm:pt modelId="{8CBE2686-5787-4D9E-8FAC-2E4281DE40E0}" type="sibTrans" cxnId="{2D5FEE29-616F-4D05-83D7-725E9E524571}">
      <dgm:prSet/>
      <dgm:spPr/>
      <dgm:t>
        <a:bodyPr/>
        <a:lstStyle/>
        <a:p>
          <a:endParaRPr lang="nb-NO"/>
        </a:p>
      </dgm:t>
    </dgm:pt>
    <dgm:pt modelId="{325E8F49-AC5A-443D-9803-696806910DCD}" type="pres">
      <dgm:prSet presAssocID="{680E8242-65C8-42DE-A0AE-C919471D461B}" presName="Name0" presStyleCnt="0">
        <dgm:presLayoutVars>
          <dgm:dir/>
          <dgm:animLvl val="lvl"/>
          <dgm:resizeHandles val="exact"/>
        </dgm:presLayoutVars>
      </dgm:prSet>
      <dgm:spPr/>
    </dgm:pt>
    <dgm:pt modelId="{B10FC968-B07E-4E0B-95BC-3FCC3841A247}" type="pres">
      <dgm:prSet presAssocID="{BEDD61B1-22D0-4BFF-AE4B-4854FA3E80C9}" presName="parTxOnly" presStyleLbl="node1" presStyleIdx="0" presStyleCnt="3" custScaleY="38037">
        <dgm:presLayoutVars>
          <dgm:chMax val="0"/>
          <dgm:chPref val="0"/>
          <dgm:bulletEnabled val="1"/>
        </dgm:presLayoutVars>
      </dgm:prSet>
      <dgm:spPr/>
    </dgm:pt>
    <dgm:pt modelId="{321C5222-EC61-44A4-AEB6-3F0BD9768AD4}" type="pres">
      <dgm:prSet presAssocID="{7D3CCF23-392C-4A4A-845A-1C34A97402EA}" presName="parTxOnlySpace" presStyleCnt="0"/>
      <dgm:spPr/>
    </dgm:pt>
    <dgm:pt modelId="{432D3C07-0407-4281-A88F-11F2BF303211}" type="pres">
      <dgm:prSet presAssocID="{8A03F8F1-C8F0-43B4-8011-4C5AF1C9D9E5}" presName="parTxOnly" presStyleLbl="node1" presStyleIdx="1" presStyleCnt="3" custScaleY="38037">
        <dgm:presLayoutVars>
          <dgm:chMax val="0"/>
          <dgm:chPref val="0"/>
          <dgm:bulletEnabled val="1"/>
        </dgm:presLayoutVars>
      </dgm:prSet>
      <dgm:spPr/>
    </dgm:pt>
    <dgm:pt modelId="{93DD8A0A-80F5-459C-8096-381B91AC9764}" type="pres">
      <dgm:prSet presAssocID="{14C0036C-4E46-4B9A-B7AC-73E1CBF1FCE3}" presName="parTxOnlySpace" presStyleCnt="0"/>
      <dgm:spPr/>
    </dgm:pt>
    <dgm:pt modelId="{94BA6246-3E8B-4551-A14B-AEA9610E13ED}" type="pres">
      <dgm:prSet presAssocID="{88A2ADB9-7144-465A-B71E-8D8AF8244B44}" presName="parTxOnly" presStyleLbl="node1" presStyleIdx="2" presStyleCnt="3" custScaleX="110325" custScaleY="38037">
        <dgm:presLayoutVars>
          <dgm:chMax val="0"/>
          <dgm:chPref val="0"/>
          <dgm:bulletEnabled val="1"/>
        </dgm:presLayoutVars>
      </dgm:prSet>
      <dgm:spPr/>
    </dgm:pt>
  </dgm:ptLst>
  <dgm:cxnLst>
    <dgm:cxn modelId="{2D5FEE29-616F-4D05-83D7-725E9E524571}" srcId="{680E8242-65C8-42DE-A0AE-C919471D461B}" destId="{88A2ADB9-7144-465A-B71E-8D8AF8244B44}" srcOrd="2" destOrd="0" parTransId="{B351AC3C-C88A-4967-BF68-06800A9D0B5C}" sibTransId="{8CBE2686-5787-4D9E-8FAC-2E4281DE40E0}"/>
    <dgm:cxn modelId="{ABAFF7A4-98FE-4457-A4D9-5E716761DAEB}" type="presOf" srcId="{8A03F8F1-C8F0-43B4-8011-4C5AF1C9D9E5}" destId="{432D3C07-0407-4281-A88F-11F2BF303211}" srcOrd="0" destOrd="0" presId="urn:microsoft.com/office/officeart/2005/8/layout/chevron1"/>
    <dgm:cxn modelId="{C64E1DC6-A886-482A-8267-7DB905660C73}" type="presOf" srcId="{BEDD61B1-22D0-4BFF-AE4B-4854FA3E80C9}" destId="{B10FC968-B07E-4E0B-95BC-3FCC3841A247}" srcOrd="0" destOrd="0" presId="urn:microsoft.com/office/officeart/2005/8/layout/chevron1"/>
    <dgm:cxn modelId="{4666D1EA-4E0E-42BF-A583-3C5EFBE673A3}" type="presOf" srcId="{88A2ADB9-7144-465A-B71E-8D8AF8244B44}" destId="{94BA6246-3E8B-4551-A14B-AEA9610E13ED}" srcOrd="0" destOrd="0" presId="urn:microsoft.com/office/officeart/2005/8/layout/chevron1"/>
    <dgm:cxn modelId="{51E67AEC-8A21-4C42-8B0A-769FE04FF98C}" srcId="{680E8242-65C8-42DE-A0AE-C919471D461B}" destId="{BEDD61B1-22D0-4BFF-AE4B-4854FA3E80C9}" srcOrd="0" destOrd="0" parTransId="{2A60E80D-6E9E-436C-A8EA-03346B4BD886}" sibTransId="{7D3CCF23-392C-4A4A-845A-1C34A97402EA}"/>
    <dgm:cxn modelId="{95568EF6-4557-4E0C-9B23-41B27DC48598}" srcId="{680E8242-65C8-42DE-A0AE-C919471D461B}" destId="{8A03F8F1-C8F0-43B4-8011-4C5AF1C9D9E5}" srcOrd="1" destOrd="0" parTransId="{2689FBA7-15F9-4A5A-A11B-73D3F017C242}" sibTransId="{14C0036C-4E46-4B9A-B7AC-73E1CBF1FCE3}"/>
    <dgm:cxn modelId="{7F5D83F7-A098-40CC-A7BF-D305FBE1546E}" type="presOf" srcId="{680E8242-65C8-42DE-A0AE-C919471D461B}" destId="{325E8F49-AC5A-443D-9803-696806910DCD}" srcOrd="0" destOrd="0" presId="urn:microsoft.com/office/officeart/2005/8/layout/chevron1"/>
    <dgm:cxn modelId="{96B5F95F-8B86-469F-B0EE-3DAB559A63B3}" type="presParOf" srcId="{325E8F49-AC5A-443D-9803-696806910DCD}" destId="{B10FC968-B07E-4E0B-95BC-3FCC3841A247}" srcOrd="0" destOrd="0" presId="urn:microsoft.com/office/officeart/2005/8/layout/chevron1"/>
    <dgm:cxn modelId="{5D6536D7-8387-430C-9A6F-F53BB3426FD6}" type="presParOf" srcId="{325E8F49-AC5A-443D-9803-696806910DCD}" destId="{321C5222-EC61-44A4-AEB6-3F0BD9768AD4}" srcOrd="1" destOrd="0" presId="urn:microsoft.com/office/officeart/2005/8/layout/chevron1"/>
    <dgm:cxn modelId="{4A4AB221-92C6-4C00-9852-7B4750DD3D3D}" type="presParOf" srcId="{325E8F49-AC5A-443D-9803-696806910DCD}" destId="{432D3C07-0407-4281-A88F-11F2BF303211}" srcOrd="2" destOrd="0" presId="urn:microsoft.com/office/officeart/2005/8/layout/chevron1"/>
    <dgm:cxn modelId="{B7C42E47-9A9A-44D3-BB13-07F553069255}" type="presParOf" srcId="{325E8F49-AC5A-443D-9803-696806910DCD}" destId="{93DD8A0A-80F5-459C-8096-381B91AC9764}" srcOrd="3" destOrd="0" presId="urn:microsoft.com/office/officeart/2005/8/layout/chevron1"/>
    <dgm:cxn modelId="{577F86A9-2B52-49BC-93FB-8788FF4A0728}" type="presParOf" srcId="{325E8F49-AC5A-443D-9803-696806910DCD}" destId="{94BA6246-3E8B-4551-A14B-AEA9610E13ED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2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80E8242-65C8-42DE-A0AE-C919471D461B}" type="doc">
      <dgm:prSet loTypeId="urn:microsoft.com/office/officeart/2005/8/layout/chevron1" loCatId="process" qsTypeId="urn:microsoft.com/office/officeart/2005/8/quickstyle/simple1" qsCatId="simple" csTypeId="urn:microsoft.com/office/officeart/2005/8/colors/colorful5" csCatId="colorful" phldr="1"/>
      <dgm:spPr/>
    </dgm:pt>
    <dgm:pt modelId="{BEDD61B1-22D0-4BFF-AE4B-4854FA3E80C9}">
      <dgm:prSet phldrT="[Text]" custT="1"/>
      <dgm:spPr>
        <a:solidFill>
          <a:srgbClr val="00B050"/>
        </a:solidFill>
      </dgm:spPr>
      <dgm:t>
        <a:bodyPr/>
        <a:lstStyle/>
        <a:p>
          <a:r>
            <a:rPr lang="nb-NO" sz="1000"/>
            <a:t>Basiskurs BEVISST plan og BEVISST innsikt</a:t>
          </a:r>
        </a:p>
      </dgm:t>
    </dgm:pt>
    <dgm:pt modelId="{2A60E80D-6E9E-436C-A8EA-03346B4BD886}" type="parTrans" cxnId="{51E67AEC-8A21-4C42-8B0A-769FE04FF98C}">
      <dgm:prSet/>
      <dgm:spPr/>
      <dgm:t>
        <a:bodyPr/>
        <a:lstStyle/>
        <a:p>
          <a:endParaRPr lang="nb-NO"/>
        </a:p>
      </dgm:t>
    </dgm:pt>
    <dgm:pt modelId="{7D3CCF23-392C-4A4A-845A-1C34A97402EA}" type="sibTrans" cxnId="{51E67AEC-8A21-4C42-8B0A-769FE04FF98C}">
      <dgm:prSet/>
      <dgm:spPr/>
      <dgm:t>
        <a:bodyPr/>
        <a:lstStyle/>
        <a:p>
          <a:endParaRPr lang="nb-NO"/>
        </a:p>
      </dgm:t>
    </dgm:pt>
    <dgm:pt modelId="{8A03F8F1-C8F0-43B4-8011-4C5AF1C9D9E5}">
      <dgm:prSet phldrT="[Text]" custT="1"/>
      <dgm:spPr>
        <a:solidFill>
          <a:srgbClr val="00B050"/>
        </a:solidFill>
      </dgm:spPr>
      <dgm:t>
        <a:bodyPr/>
        <a:lstStyle/>
        <a:p>
          <a:r>
            <a:rPr lang="nb-NO" sz="1100"/>
            <a:t>PBO-kurs </a:t>
          </a:r>
          <a:br>
            <a:rPr lang="nb-NO" sz="1100"/>
          </a:br>
          <a:r>
            <a:rPr lang="nb-NO" sz="1100"/>
            <a:t>(leveranser med ny </a:t>
          </a:r>
          <a:r>
            <a:rPr lang="nb-NO" sz="1100" err="1"/>
            <a:t>økmodell</a:t>
          </a:r>
          <a:r>
            <a:rPr lang="nb-NO" sz="1100"/>
            <a:t>)</a:t>
          </a:r>
        </a:p>
      </dgm:t>
    </dgm:pt>
    <dgm:pt modelId="{2689FBA7-15F9-4A5A-A11B-73D3F017C242}" type="parTrans" cxnId="{95568EF6-4557-4E0C-9B23-41B27DC48598}">
      <dgm:prSet/>
      <dgm:spPr/>
      <dgm:t>
        <a:bodyPr/>
        <a:lstStyle/>
        <a:p>
          <a:endParaRPr lang="nb-NO"/>
        </a:p>
      </dgm:t>
    </dgm:pt>
    <dgm:pt modelId="{14C0036C-4E46-4B9A-B7AC-73E1CBF1FCE3}" type="sibTrans" cxnId="{95568EF6-4557-4E0C-9B23-41B27DC48598}">
      <dgm:prSet/>
      <dgm:spPr/>
      <dgm:t>
        <a:bodyPr/>
        <a:lstStyle/>
        <a:p>
          <a:endParaRPr lang="nb-NO"/>
        </a:p>
      </dgm:t>
    </dgm:pt>
    <dgm:pt modelId="{88A2ADB9-7144-465A-B71E-8D8AF8244B44}">
      <dgm:prSet phldrT="[Text]" custT="1"/>
      <dgm:spPr>
        <a:solidFill>
          <a:srgbClr val="00B050"/>
        </a:solidFill>
      </dgm:spPr>
      <dgm:t>
        <a:bodyPr/>
        <a:lstStyle/>
        <a:p>
          <a:r>
            <a:rPr lang="nb-NO" sz="1100"/>
            <a:t>Evaluering innføring</a:t>
          </a:r>
        </a:p>
      </dgm:t>
    </dgm:pt>
    <dgm:pt modelId="{B351AC3C-C88A-4967-BF68-06800A9D0B5C}" type="parTrans" cxnId="{2D5FEE29-616F-4D05-83D7-725E9E524571}">
      <dgm:prSet/>
      <dgm:spPr/>
      <dgm:t>
        <a:bodyPr/>
        <a:lstStyle/>
        <a:p>
          <a:endParaRPr lang="nb-NO"/>
        </a:p>
      </dgm:t>
    </dgm:pt>
    <dgm:pt modelId="{8CBE2686-5787-4D9E-8FAC-2E4281DE40E0}" type="sibTrans" cxnId="{2D5FEE29-616F-4D05-83D7-725E9E524571}">
      <dgm:prSet/>
      <dgm:spPr/>
      <dgm:t>
        <a:bodyPr/>
        <a:lstStyle/>
        <a:p>
          <a:endParaRPr lang="nb-NO"/>
        </a:p>
      </dgm:t>
    </dgm:pt>
    <dgm:pt modelId="{325E8F49-AC5A-443D-9803-696806910DCD}" type="pres">
      <dgm:prSet presAssocID="{680E8242-65C8-42DE-A0AE-C919471D461B}" presName="Name0" presStyleCnt="0">
        <dgm:presLayoutVars>
          <dgm:dir/>
          <dgm:animLvl val="lvl"/>
          <dgm:resizeHandles val="exact"/>
        </dgm:presLayoutVars>
      </dgm:prSet>
      <dgm:spPr/>
    </dgm:pt>
    <dgm:pt modelId="{B10FC968-B07E-4E0B-95BC-3FCC3841A247}" type="pres">
      <dgm:prSet presAssocID="{BEDD61B1-22D0-4BFF-AE4B-4854FA3E80C9}" presName="parTxOnly" presStyleLbl="node1" presStyleIdx="0" presStyleCnt="3" custScaleX="47911" custScaleY="38037">
        <dgm:presLayoutVars>
          <dgm:chMax val="0"/>
          <dgm:chPref val="0"/>
          <dgm:bulletEnabled val="1"/>
        </dgm:presLayoutVars>
      </dgm:prSet>
      <dgm:spPr/>
    </dgm:pt>
    <dgm:pt modelId="{321C5222-EC61-44A4-AEB6-3F0BD9768AD4}" type="pres">
      <dgm:prSet presAssocID="{7D3CCF23-392C-4A4A-845A-1C34A97402EA}" presName="parTxOnlySpace" presStyleCnt="0"/>
      <dgm:spPr/>
    </dgm:pt>
    <dgm:pt modelId="{432D3C07-0407-4281-A88F-11F2BF303211}" type="pres">
      <dgm:prSet presAssocID="{8A03F8F1-C8F0-43B4-8011-4C5AF1C9D9E5}" presName="parTxOnly" presStyleLbl="node1" presStyleIdx="1" presStyleCnt="3" custScaleX="68610" custScaleY="38037">
        <dgm:presLayoutVars>
          <dgm:chMax val="0"/>
          <dgm:chPref val="0"/>
          <dgm:bulletEnabled val="1"/>
        </dgm:presLayoutVars>
      </dgm:prSet>
      <dgm:spPr/>
    </dgm:pt>
    <dgm:pt modelId="{93DD8A0A-80F5-459C-8096-381B91AC9764}" type="pres">
      <dgm:prSet presAssocID="{14C0036C-4E46-4B9A-B7AC-73E1CBF1FCE3}" presName="parTxOnlySpace" presStyleCnt="0"/>
      <dgm:spPr/>
    </dgm:pt>
    <dgm:pt modelId="{94BA6246-3E8B-4551-A14B-AEA9610E13ED}" type="pres">
      <dgm:prSet presAssocID="{88A2ADB9-7144-465A-B71E-8D8AF8244B44}" presName="parTxOnly" presStyleLbl="node1" presStyleIdx="2" presStyleCnt="3" custScaleX="40353" custScaleY="38037">
        <dgm:presLayoutVars>
          <dgm:chMax val="0"/>
          <dgm:chPref val="0"/>
          <dgm:bulletEnabled val="1"/>
        </dgm:presLayoutVars>
      </dgm:prSet>
      <dgm:spPr/>
    </dgm:pt>
  </dgm:ptLst>
  <dgm:cxnLst>
    <dgm:cxn modelId="{2D5FEE29-616F-4D05-83D7-725E9E524571}" srcId="{680E8242-65C8-42DE-A0AE-C919471D461B}" destId="{88A2ADB9-7144-465A-B71E-8D8AF8244B44}" srcOrd="2" destOrd="0" parTransId="{B351AC3C-C88A-4967-BF68-06800A9D0B5C}" sibTransId="{8CBE2686-5787-4D9E-8FAC-2E4281DE40E0}"/>
    <dgm:cxn modelId="{ABAFF7A4-98FE-4457-A4D9-5E716761DAEB}" type="presOf" srcId="{8A03F8F1-C8F0-43B4-8011-4C5AF1C9D9E5}" destId="{432D3C07-0407-4281-A88F-11F2BF303211}" srcOrd="0" destOrd="0" presId="urn:microsoft.com/office/officeart/2005/8/layout/chevron1"/>
    <dgm:cxn modelId="{C64E1DC6-A886-482A-8267-7DB905660C73}" type="presOf" srcId="{BEDD61B1-22D0-4BFF-AE4B-4854FA3E80C9}" destId="{B10FC968-B07E-4E0B-95BC-3FCC3841A247}" srcOrd="0" destOrd="0" presId="urn:microsoft.com/office/officeart/2005/8/layout/chevron1"/>
    <dgm:cxn modelId="{4666D1EA-4E0E-42BF-A583-3C5EFBE673A3}" type="presOf" srcId="{88A2ADB9-7144-465A-B71E-8D8AF8244B44}" destId="{94BA6246-3E8B-4551-A14B-AEA9610E13ED}" srcOrd="0" destOrd="0" presId="urn:microsoft.com/office/officeart/2005/8/layout/chevron1"/>
    <dgm:cxn modelId="{51E67AEC-8A21-4C42-8B0A-769FE04FF98C}" srcId="{680E8242-65C8-42DE-A0AE-C919471D461B}" destId="{BEDD61B1-22D0-4BFF-AE4B-4854FA3E80C9}" srcOrd="0" destOrd="0" parTransId="{2A60E80D-6E9E-436C-A8EA-03346B4BD886}" sibTransId="{7D3CCF23-392C-4A4A-845A-1C34A97402EA}"/>
    <dgm:cxn modelId="{95568EF6-4557-4E0C-9B23-41B27DC48598}" srcId="{680E8242-65C8-42DE-A0AE-C919471D461B}" destId="{8A03F8F1-C8F0-43B4-8011-4C5AF1C9D9E5}" srcOrd="1" destOrd="0" parTransId="{2689FBA7-15F9-4A5A-A11B-73D3F017C242}" sibTransId="{14C0036C-4E46-4B9A-B7AC-73E1CBF1FCE3}"/>
    <dgm:cxn modelId="{7F5D83F7-A098-40CC-A7BF-D305FBE1546E}" type="presOf" srcId="{680E8242-65C8-42DE-A0AE-C919471D461B}" destId="{325E8F49-AC5A-443D-9803-696806910DCD}" srcOrd="0" destOrd="0" presId="urn:microsoft.com/office/officeart/2005/8/layout/chevron1"/>
    <dgm:cxn modelId="{96B5F95F-8B86-469F-B0EE-3DAB559A63B3}" type="presParOf" srcId="{325E8F49-AC5A-443D-9803-696806910DCD}" destId="{B10FC968-B07E-4E0B-95BC-3FCC3841A247}" srcOrd="0" destOrd="0" presId="urn:microsoft.com/office/officeart/2005/8/layout/chevron1"/>
    <dgm:cxn modelId="{5D6536D7-8387-430C-9A6F-F53BB3426FD6}" type="presParOf" srcId="{325E8F49-AC5A-443D-9803-696806910DCD}" destId="{321C5222-EC61-44A4-AEB6-3F0BD9768AD4}" srcOrd="1" destOrd="0" presId="urn:microsoft.com/office/officeart/2005/8/layout/chevron1"/>
    <dgm:cxn modelId="{4A4AB221-92C6-4C00-9852-7B4750DD3D3D}" type="presParOf" srcId="{325E8F49-AC5A-443D-9803-696806910DCD}" destId="{432D3C07-0407-4281-A88F-11F2BF303211}" srcOrd="2" destOrd="0" presId="urn:microsoft.com/office/officeart/2005/8/layout/chevron1"/>
    <dgm:cxn modelId="{B7C42E47-9A9A-44D3-BB13-07F553069255}" type="presParOf" srcId="{325E8F49-AC5A-443D-9803-696806910DCD}" destId="{93DD8A0A-80F5-459C-8096-381B91AC9764}" srcOrd="3" destOrd="0" presId="urn:microsoft.com/office/officeart/2005/8/layout/chevron1"/>
    <dgm:cxn modelId="{577F86A9-2B52-49BC-93FB-8788FF4A0728}" type="presParOf" srcId="{325E8F49-AC5A-443D-9803-696806910DCD}" destId="{94BA6246-3E8B-4551-A14B-AEA9610E13ED}" srcOrd="4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25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80E8242-65C8-42DE-A0AE-C919471D461B}" type="doc">
      <dgm:prSet loTypeId="urn:microsoft.com/office/officeart/2005/8/layout/chevron1" loCatId="process" qsTypeId="urn:microsoft.com/office/officeart/2005/8/quickstyle/simple1" qsCatId="simple" csTypeId="urn:microsoft.com/office/officeart/2005/8/colors/colorful5" csCatId="colorful" phldr="1"/>
      <dgm:spPr/>
    </dgm:pt>
    <dgm:pt modelId="{BEDD61B1-22D0-4BFF-AE4B-4854FA3E80C9}">
      <dgm:prSet phldrT="[Text]"/>
      <dgm:spPr>
        <a:solidFill>
          <a:srgbClr val="92D050"/>
        </a:solidFill>
      </dgm:spPr>
      <dgm:t>
        <a:bodyPr/>
        <a:lstStyle/>
        <a:p>
          <a:r>
            <a:rPr lang="nb-NO">
              <a:solidFill>
                <a:schemeClr val="tx1"/>
              </a:solidFill>
            </a:rPr>
            <a:t>Basiskurs</a:t>
          </a:r>
          <a:r>
            <a:rPr lang="nb-NO"/>
            <a:t> </a:t>
          </a:r>
          <a:r>
            <a:rPr lang="nb-NO">
              <a:solidFill>
                <a:schemeClr val="tx1"/>
              </a:solidFill>
            </a:rPr>
            <a:t>BEVISST</a:t>
          </a:r>
          <a:r>
            <a:rPr lang="nb-NO"/>
            <a:t> </a:t>
          </a:r>
          <a:r>
            <a:rPr lang="nb-NO">
              <a:solidFill>
                <a:schemeClr val="tx1"/>
              </a:solidFill>
            </a:rPr>
            <a:t>plan</a:t>
          </a:r>
        </a:p>
      </dgm:t>
    </dgm:pt>
    <dgm:pt modelId="{2A60E80D-6E9E-436C-A8EA-03346B4BD886}" type="parTrans" cxnId="{51E67AEC-8A21-4C42-8B0A-769FE04FF98C}">
      <dgm:prSet/>
      <dgm:spPr/>
      <dgm:t>
        <a:bodyPr/>
        <a:lstStyle/>
        <a:p>
          <a:endParaRPr lang="nb-NO"/>
        </a:p>
      </dgm:t>
    </dgm:pt>
    <dgm:pt modelId="{7D3CCF23-392C-4A4A-845A-1C34A97402EA}" type="sibTrans" cxnId="{51E67AEC-8A21-4C42-8B0A-769FE04FF98C}">
      <dgm:prSet/>
      <dgm:spPr/>
      <dgm:t>
        <a:bodyPr/>
        <a:lstStyle/>
        <a:p>
          <a:endParaRPr lang="nb-NO"/>
        </a:p>
      </dgm:t>
    </dgm:pt>
    <dgm:pt modelId="{8A03F8F1-C8F0-43B4-8011-4C5AF1C9D9E5}">
      <dgm:prSet phldrT="[Text]"/>
      <dgm:spPr>
        <a:solidFill>
          <a:srgbClr val="92D050"/>
        </a:solidFill>
      </dgm:spPr>
      <dgm:t>
        <a:bodyPr/>
        <a:lstStyle/>
        <a:p>
          <a:r>
            <a:rPr lang="nb-NO">
              <a:solidFill>
                <a:schemeClr val="tx1"/>
              </a:solidFill>
            </a:rPr>
            <a:t>PBO-kurs (leveranser)</a:t>
          </a:r>
        </a:p>
      </dgm:t>
    </dgm:pt>
    <dgm:pt modelId="{2689FBA7-15F9-4A5A-A11B-73D3F017C242}" type="parTrans" cxnId="{95568EF6-4557-4E0C-9B23-41B27DC48598}">
      <dgm:prSet/>
      <dgm:spPr/>
      <dgm:t>
        <a:bodyPr/>
        <a:lstStyle/>
        <a:p>
          <a:endParaRPr lang="nb-NO"/>
        </a:p>
      </dgm:t>
    </dgm:pt>
    <dgm:pt modelId="{14C0036C-4E46-4B9A-B7AC-73E1CBF1FCE3}" type="sibTrans" cxnId="{95568EF6-4557-4E0C-9B23-41B27DC48598}">
      <dgm:prSet/>
      <dgm:spPr/>
      <dgm:t>
        <a:bodyPr/>
        <a:lstStyle/>
        <a:p>
          <a:endParaRPr lang="nb-NO"/>
        </a:p>
      </dgm:t>
    </dgm:pt>
    <dgm:pt modelId="{88A2ADB9-7144-465A-B71E-8D8AF8244B44}">
      <dgm:prSet phldrT="[Text]"/>
      <dgm:spPr>
        <a:solidFill>
          <a:srgbClr val="92D050"/>
        </a:solidFill>
      </dgm:spPr>
      <dgm:t>
        <a:bodyPr/>
        <a:lstStyle/>
        <a:p>
          <a:pPr algn="ctr"/>
          <a:r>
            <a:rPr lang="nb-NO">
              <a:solidFill>
                <a:schemeClr val="tx1"/>
              </a:solidFill>
            </a:rPr>
            <a:t>Evaluering innføring</a:t>
          </a:r>
        </a:p>
      </dgm:t>
    </dgm:pt>
    <dgm:pt modelId="{B351AC3C-C88A-4967-BF68-06800A9D0B5C}" type="parTrans" cxnId="{2D5FEE29-616F-4D05-83D7-725E9E524571}">
      <dgm:prSet/>
      <dgm:spPr/>
      <dgm:t>
        <a:bodyPr/>
        <a:lstStyle/>
        <a:p>
          <a:endParaRPr lang="nb-NO"/>
        </a:p>
      </dgm:t>
    </dgm:pt>
    <dgm:pt modelId="{8CBE2686-5787-4D9E-8FAC-2E4281DE40E0}" type="sibTrans" cxnId="{2D5FEE29-616F-4D05-83D7-725E9E524571}">
      <dgm:prSet/>
      <dgm:spPr/>
      <dgm:t>
        <a:bodyPr/>
        <a:lstStyle/>
        <a:p>
          <a:endParaRPr lang="nb-NO"/>
        </a:p>
      </dgm:t>
    </dgm:pt>
    <dgm:pt modelId="{325E8F49-AC5A-443D-9803-696806910DCD}" type="pres">
      <dgm:prSet presAssocID="{680E8242-65C8-42DE-A0AE-C919471D461B}" presName="Name0" presStyleCnt="0">
        <dgm:presLayoutVars>
          <dgm:dir/>
          <dgm:animLvl val="lvl"/>
          <dgm:resizeHandles val="exact"/>
        </dgm:presLayoutVars>
      </dgm:prSet>
      <dgm:spPr/>
    </dgm:pt>
    <dgm:pt modelId="{B10FC968-B07E-4E0B-95BC-3FCC3841A247}" type="pres">
      <dgm:prSet presAssocID="{BEDD61B1-22D0-4BFF-AE4B-4854FA3E80C9}" presName="parTxOnly" presStyleLbl="node1" presStyleIdx="0" presStyleCnt="3" custScaleY="38037">
        <dgm:presLayoutVars>
          <dgm:chMax val="0"/>
          <dgm:chPref val="0"/>
          <dgm:bulletEnabled val="1"/>
        </dgm:presLayoutVars>
      </dgm:prSet>
      <dgm:spPr/>
    </dgm:pt>
    <dgm:pt modelId="{321C5222-EC61-44A4-AEB6-3F0BD9768AD4}" type="pres">
      <dgm:prSet presAssocID="{7D3CCF23-392C-4A4A-845A-1C34A97402EA}" presName="parTxOnlySpace" presStyleCnt="0"/>
      <dgm:spPr/>
    </dgm:pt>
    <dgm:pt modelId="{432D3C07-0407-4281-A88F-11F2BF303211}" type="pres">
      <dgm:prSet presAssocID="{8A03F8F1-C8F0-43B4-8011-4C5AF1C9D9E5}" presName="parTxOnly" presStyleLbl="node1" presStyleIdx="1" presStyleCnt="3" custScaleY="38037">
        <dgm:presLayoutVars>
          <dgm:chMax val="0"/>
          <dgm:chPref val="0"/>
          <dgm:bulletEnabled val="1"/>
        </dgm:presLayoutVars>
      </dgm:prSet>
      <dgm:spPr/>
    </dgm:pt>
    <dgm:pt modelId="{93DD8A0A-80F5-459C-8096-381B91AC9764}" type="pres">
      <dgm:prSet presAssocID="{14C0036C-4E46-4B9A-B7AC-73E1CBF1FCE3}" presName="parTxOnlySpace" presStyleCnt="0"/>
      <dgm:spPr/>
    </dgm:pt>
    <dgm:pt modelId="{94BA6246-3E8B-4551-A14B-AEA9610E13ED}" type="pres">
      <dgm:prSet presAssocID="{88A2ADB9-7144-465A-B71E-8D8AF8244B44}" presName="parTxOnly" presStyleLbl="node1" presStyleIdx="2" presStyleCnt="3" custScaleX="110325" custScaleY="38037">
        <dgm:presLayoutVars>
          <dgm:chMax val="0"/>
          <dgm:chPref val="0"/>
          <dgm:bulletEnabled val="1"/>
        </dgm:presLayoutVars>
      </dgm:prSet>
      <dgm:spPr/>
    </dgm:pt>
  </dgm:ptLst>
  <dgm:cxnLst>
    <dgm:cxn modelId="{2D5FEE29-616F-4D05-83D7-725E9E524571}" srcId="{680E8242-65C8-42DE-A0AE-C919471D461B}" destId="{88A2ADB9-7144-465A-B71E-8D8AF8244B44}" srcOrd="2" destOrd="0" parTransId="{B351AC3C-C88A-4967-BF68-06800A9D0B5C}" sibTransId="{8CBE2686-5787-4D9E-8FAC-2E4281DE40E0}"/>
    <dgm:cxn modelId="{ABAFF7A4-98FE-4457-A4D9-5E716761DAEB}" type="presOf" srcId="{8A03F8F1-C8F0-43B4-8011-4C5AF1C9D9E5}" destId="{432D3C07-0407-4281-A88F-11F2BF303211}" srcOrd="0" destOrd="0" presId="urn:microsoft.com/office/officeart/2005/8/layout/chevron1"/>
    <dgm:cxn modelId="{C64E1DC6-A886-482A-8267-7DB905660C73}" type="presOf" srcId="{BEDD61B1-22D0-4BFF-AE4B-4854FA3E80C9}" destId="{B10FC968-B07E-4E0B-95BC-3FCC3841A247}" srcOrd="0" destOrd="0" presId="urn:microsoft.com/office/officeart/2005/8/layout/chevron1"/>
    <dgm:cxn modelId="{4666D1EA-4E0E-42BF-A583-3C5EFBE673A3}" type="presOf" srcId="{88A2ADB9-7144-465A-B71E-8D8AF8244B44}" destId="{94BA6246-3E8B-4551-A14B-AEA9610E13ED}" srcOrd="0" destOrd="0" presId="urn:microsoft.com/office/officeart/2005/8/layout/chevron1"/>
    <dgm:cxn modelId="{51E67AEC-8A21-4C42-8B0A-769FE04FF98C}" srcId="{680E8242-65C8-42DE-A0AE-C919471D461B}" destId="{BEDD61B1-22D0-4BFF-AE4B-4854FA3E80C9}" srcOrd="0" destOrd="0" parTransId="{2A60E80D-6E9E-436C-A8EA-03346B4BD886}" sibTransId="{7D3CCF23-392C-4A4A-845A-1C34A97402EA}"/>
    <dgm:cxn modelId="{95568EF6-4557-4E0C-9B23-41B27DC48598}" srcId="{680E8242-65C8-42DE-A0AE-C919471D461B}" destId="{8A03F8F1-C8F0-43B4-8011-4C5AF1C9D9E5}" srcOrd="1" destOrd="0" parTransId="{2689FBA7-15F9-4A5A-A11B-73D3F017C242}" sibTransId="{14C0036C-4E46-4B9A-B7AC-73E1CBF1FCE3}"/>
    <dgm:cxn modelId="{7F5D83F7-A098-40CC-A7BF-D305FBE1546E}" type="presOf" srcId="{680E8242-65C8-42DE-A0AE-C919471D461B}" destId="{325E8F49-AC5A-443D-9803-696806910DCD}" srcOrd="0" destOrd="0" presId="urn:microsoft.com/office/officeart/2005/8/layout/chevron1"/>
    <dgm:cxn modelId="{96B5F95F-8B86-469F-B0EE-3DAB559A63B3}" type="presParOf" srcId="{325E8F49-AC5A-443D-9803-696806910DCD}" destId="{B10FC968-B07E-4E0B-95BC-3FCC3841A247}" srcOrd="0" destOrd="0" presId="urn:microsoft.com/office/officeart/2005/8/layout/chevron1"/>
    <dgm:cxn modelId="{5D6536D7-8387-430C-9A6F-F53BB3426FD6}" type="presParOf" srcId="{325E8F49-AC5A-443D-9803-696806910DCD}" destId="{321C5222-EC61-44A4-AEB6-3F0BD9768AD4}" srcOrd="1" destOrd="0" presId="urn:microsoft.com/office/officeart/2005/8/layout/chevron1"/>
    <dgm:cxn modelId="{4A4AB221-92C6-4C00-9852-7B4750DD3D3D}" type="presParOf" srcId="{325E8F49-AC5A-443D-9803-696806910DCD}" destId="{432D3C07-0407-4281-A88F-11F2BF303211}" srcOrd="2" destOrd="0" presId="urn:microsoft.com/office/officeart/2005/8/layout/chevron1"/>
    <dgm:cxn modelId="{B7C42E47-9A9A-44D3-BB13-07F553069255}" type="presParOf" srcId="{325E8F49-AC5A-443D-9803-696806910DCD}" destId="{93DD8A0A-80F5-459C-8096-381B91AC9764}" srcOrd="3" destOrd="0" presId="urn:microsoft.com/office/officeart/2005/8/layout/chevron1"/>
    <dgm:cxn modelId="{577F86A9-2B52-49BC-93FB-8788FF4A0728}" type="presParOf" srcId="{325E8F49-AC5A-443D-9803-696806910DCD}" destId="{94BA6246-3E8B-4551-A14B-AEA9610E13ED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FC295B7D-F857-4701-B417-8CA96F6BFFDD}" type="doc">
      <dgm:prSet loTypeId="urn:microsoft.com/office/officeart/2005/8/layout/hChevron3" loCatId="process" qsTypeId="urn:microsoft.com/office/officeart/2005/8/quickstyle/simple1" qsCatId="simple" csTypeId="urn:microsoft.com/office/officeart/2005/8/colors/accent1_4" csCatId="accent1" phldr="1"/>
      <dgm:spPr/>
    </dgm:pt>
    <dgm:pt modelId="{A53DFD9A-4278-42D6-A32D-23B9914C2737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Jan</a:t>
          </a:r>
        </a:p>
      </dgm:t>
    </dgm:pt>
    <dgm:pt modelId="{C30E3508-CF4C-4B17-87E1-A6BED450C84C}" type="parTrans" cxnId="{9568A93D-94F9-4966-83A3-C88683C6E04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F913E39C-95FC-4BA4-ACCA-4E5091F2C97B}" type="sibTrans" cxnId="{9568A93D-94F9-4966-83A3-C88683C6E04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63EB9005-20D6-42A4-8C4A-7C18913D6523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Feb</a:t>
          </a:r>
          <a:endParaRPr lang="nb-NO" sz="1600">
            <a:solidFill>
              <a:schemeClr val="tx1"/>
            </a:solidFill>
          </a:endParaRPr>
        </a:p>
      </dgm:t>
    </dgm:pt>
    <dgm:pt modelId="{25DDDD1A-08A4-409F-999B-57C5FB8AB6CB}" type="parTrans" cxnId="{E8394DAF-9D12-4B0A-896C-47AF58C463C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3C1E42E-ED5E-4F1D-A7CD-F9740C80DF3F}" type="sibTrans" cxnId="{E8394DAF-9D12-4B0A-896C-47AF58C463C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8CE7B1C9-0BD2-4462-B32D-4D31702C3E76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Mars</a:t>
          </a:r>
        </a:p>
      </dgm:t>
    </dgm:pt>
    <dgm:pt modelId="{2AC01C37-0939-40DE-8923-1C6C6C2610E7}" type="parTrans" cxnId="{08293CC0-CF60-46A6-9A8B-B99354DEC368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1939085-C2EE-49FB-A072-89E3A38B12AF}" type="sibTrans" cxnId="{08293CC0-CF60-46A6-9A8B-B99354DEC368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0D86B1FE-AC4F-4FD1-AA3C-F1D7B07E3891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April</a:t>
          </a:r>
        </a:p>
      </dgm:t>
    </dgm:pt>
    <dgm:pt modelId="{9786C803-8CC5-49F3-B443-4FD751F8C0F2}" type="parTrans" cxnId="{CF3A7C11-1D1F-4917-8C1E-F7A6905A066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D0EB1B8E-3D62-436B-81AE-22CFF478D2F7}" type="sibTrans" cxnId="{CF3A7C11-1D1F-4917-8C1E-F7A6905A066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7DD039A-6E5A-40AF-8817-8BECD499E1D2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Mai</a:t>
          </a:r>
        </a:p>
      </dgm:t>
    </dgm:pt>
    <dgm:pt modelId="{2DE9AB6D-5608-41E5-8EE2-B72BA286AE64}" type="parTrans" cxnId="{CF24E739-EC0D-440F-A384-F98ECBC87BE3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3E85B2B3-1759-4FE0-91CD-CCF04ACFDEA0}" type="sibTrans" cxnId="{CF24E739-EC0D-440F-A384-F98ECBC87BE3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4109414-31C0-4083-AFBC-0DA7D9E02CA5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Jun</a:t>
          </a:r>
          <a:endParaRPr lang="nb-NO" sz="1600">
            <a:solidFill>
              <a:schemeClr val="tx1"/>
            </a:solidFill>
          </a:endParaRPr>
        </a:p>
      </dgm:t>
    </dgm:pt>
    <dgm:pt modelId="{306C2B99-300B-44C4-B366-86CC00129EE1}" type="parTrans" cxnId="{6668B6E7-1C13-4DC7-A4D8-4E774C5F79A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D57F9888-59DD-4B8B-8001-885D841C0BC9}" type="sibTrans" cxnId="{6668B6E7-1C13-4DC7-A4D8-4E774C5F79A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901B503-3290-41FB-B3F8-0B587FC33E3B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Jul</a:t>
          </a:r>
        </a:p>
      </dgm:t>
    </dgm:pt>
    <dgm:pt modelId="{6D4F6CFE-717B-46CE-9876-7C904312C07F}" type="parTrans" cxnId="{56B06ACF-81EE-47CE-909C-8309BA40628F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57454D4F-3791-4ABF-A2BC-076FD55B9CF3}" type="sibTrans" cxnId="{56B06ACF-81EE-47CE-909C-8309BA40628F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6ADA94F4-E964-464C-B81A-A5997DE1D7EE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Aug</a:t>
          </a:r>
          <a:endParaRPr lang="nb-NO" sz="1600">
            <a:solidFill>
              <a:schemeClr val="tx1"/>
            </a:solidFill>
          </a:endParaRPr>
        </a:p>
      </dgm:t>
    </dgm:pt>
    <dgm:pt modelId="{B8F8B226-D0E3-4D08-B384-255160124048}" type="parTrans" cxnId="{B2C53778-00A3-4ECB-B45E-D9A80FFF443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75DFA3E5-F7D5-4357-B890-DAE32F1ECAD2}" type="sibTrans" cxnId="{B2C53778-00A3-4ECB-B45E-D9A80FFF443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BE09310-B4AE-4B0A-A01F-157614B446AF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Sept</a:t>
          </a:r>
          <a:endParaRPr lang="nb-NO" sz="1600">
            <a:solidFill>
              <a:schemeClr val="tx1"/>
            </a:solidFill>
          </a:endParaRPr>
        </a:p>
      </dgm:t>
    </dgm:pt>
    <dgm:pt modelId="{58093D7E-E63E-4895-8BC2-606D5BC6CEFF}" type="parTrans" cxnId="{06E96791-C78B-4A04-B271-12030991727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DF7D30C-FA32-432A-953F-93CD0BF53FE5}" type="sibTrans" cxnId="{06E96791-C78B-4A04-B271-12030991727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59C00689-6E1F-4D4F-B61B-93E45C162884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Okt</a:t>
          </a:r>
          <a:endParaRPr lang="nb-NO" sz="1600">
            <a:solidFill>
              <a:schemeClr val="tx1"/>
            </a:solidFill>
          </a:endParaRPr>
        </a:p>
      </dgm:t>
    </dgm:pt>
    <dgm:pt modelId="{630BEF09-07F7-4558-A51F-C17A34876320}" type="parTrans" cxnId="{2575DBF3-3FAC-4B73-A1A1-483876B34AE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A7649572-3E4D-4ECA-ADCC-1D212F68A805}" type="sibTrans" cxnId="{2575DBF3-3FAC-4B73-A1A1-483876B34AE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12382D85-ACFD-490F-888C-2114F27C4BF7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Nov</a:t>
          </a:r>
        </a:p>
      </dgm:t>
    </dgm:pt>
    <dgm:pt modelId="{A7AB244B-E027-42E7-B6E3-5D858C1419CA}" type="parTrans" cxnId="{3A57C3D0-2FDA-4BF1-89DB-CD5741083A75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922AC5B-B516-4927-B774-10F116070995}" type="sibTrans" cxnId="{3A57C3D0-2FDA-4BF1-89DB-CD5741083A75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8EC9E499-5048-4496-9520-D91A43C8118D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Des</a:t>
          </a:r>
        </a:p>
      </dgm:t>
    </dgm:pt>
    <dgm:pt modelId="{E076673E-F3DE-4CFA-A9E3-4364A71E63AB}" type="parTrans" cxnId="{4B114B18-FFCC-4E34-BC14-A8A8466BF32B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36EEDC4-3639-4C95-9876-E0FE934E62ED}" type="sibTrans" cxnId="{4B114B18-FFCC-4E34-BC14-A8A8466BF32B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1BBE3D0C-6B6F-4B3A-A712-A00526757103}">
      <dgm:prSet phldrT="[Text]" custT="1"/>
      <dgm:spPr/>
      <dgm:t>
        <a:bodyPr/>
        <a:lstStyle/>
        <a:p>
          <a:r>
            <a:rPr lang="nb-NO" sz="1600">
              <a:solidFill>
                <a:schemeClr val="tx1"/>
              </a:solidFill>
            </a:rPr>
            <a:t>Jan</a:t>
          </a:r>
        </a:p>
      </dgm:t>
    </dgm:pt>
    <dgm:pt modelId="{8CA4EF54-DC83-45BA-BB4F-43A94C1BA681}" type="parTrans" cxnId="{A585E6BB-D089-4675-89FE-67D979360D74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AC54404-968E-47F7-A61A-1DA0B1A42840}" type="sibTrans" cxnId="{A585E6BB-D089-4675-89FE-67D979360D74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7C767CE-B71D-44DD-9F07-1172A1A708BB}">
      <dgm:prSet phldrT="[Text]" custT="1"/>
      <dgm:spPr/>
      <dgm:t>
        <a:bodyPr/>
        <a:lstStyle/>
        <a:p>
          <a:r>
            <a:rPr lang="nb-NO" sz="1600" err="1">
              <a:solidFill>
                <a:schemeClr val="tx1"/>
              </a:solidFill>
            </a:rPr>
            <a:t>Feb</a:t>
          </a:r>
          <a:endParaRPr lang="nb-NO" sz="1600">
            <a:solidFill>
              <a:schemeClr val="tx1"/>
            </a:solidFill>
          </a:endParaRPr>
        </a:p>
      </dgm:t>
    </dgm:pt>
    <dgm:pt modelId="{12F37BFB-21C4-4647-BE4A-FB4ADB1A7835}" type="parTrans" cxnId="{48224370-A21D-4159-8E3D-3AA4A5230E72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0DF525DA-6D96-4524-BFE8-E8A7C9CA5F2C}" type="sibTrans" cxnId="{48224370-A21D-4159-8E3D-3AA4A5230E72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EEF8DC9F-A7A5-4737-B6D7-71E40C66DD58}" type="pres">
      <dgm:prSet presAssocID="{FC295B7D-F857-4701-B417-8CA96F6BFFDD}" presName="Name0" presStyleCnt="0">
        <dgm:presLayoutVars>
          <dgm:dir/>
          <dgm:resizeHandles val="exact"/>
        </dgm:presLayoutVars>
      </dgm:prSet>
      <dgm:spPr/>
    </dgm:pt>
    <dgm:pt modelId="{1CA2016E-9240-4939-AC74-35F63662D3AC}" type="pres">
      <dgm:prSet presAssocID="{A53DFD9A-4278-42D6-A32D-23B9914C2737}" presName="parTxOnly" presStyleLbl="node1" presStyleIdx="0" presStyleCnt="14" custScaleY="72955">
        <dgm:presLayoutVars>
          <dgm:bulletEnabled val="1"/>
        </dgm:presLayoutVars>
      </dgm:prSet>
      <dgm:spPr/>
    </dgm:pt>
    <dgm:pt modelId="{7E86FA99-36AC-4EDE-8AA2-3C83B26A6D7D}" type="pres">
      <dgm:prSet presAssocID="{F913E39C-95FC-4BA4-ACCA-4E5091F2C97B}" presName="parSpace" presStyleCnt="0"/>
      <dgm:spPr/>
    </dgm:pt>
    <dgm:pt modelId="{8B79A64D-9D22-4A79-A270-B7ADD22155D2}" type="pres">
      <dgm:prSet presAssocID="{63EB9005-20D6-42A4-8C4A-7C18913D6523}" presName="parTxOnly" presStyleLbl="node1" presStyleIdx="1" presStyleCnt="14" custScaleY="72955">
        <dgm:presLayoutVars>
          <dgm:bulletEnabled val="1"/>
        </dgm:presLayoutVars>
      </dgm:prSet>
      <dgm:spPr/>
    </dgm:pt>
    <dgm:pt modelId="{67F152AC-FF39-4A5D-908E-235C1FA0FE5A}" type="pres">
      <dgm:prSet presAssocID="{93C1E42E-ED5E-4F1D-A7CD-F9740C80DF3F}" presName="parSpace" presStyleCnt="0"/>
      <dgm:spPr/>
    </dgm:pt>
    <dgm:pt modelId="{094020EB-3143-4343-84FC-A8D8663415FA}" type="pres">
      <dgm:prSet presAssocID="{8CE7B1C9-0BD2-4462-B32D-4D31702C3E76}" presName="parTxOnly" presStyleLbl="node1" presStyleIdx="2" presStyleCnt="14" custScaleY="72955">
        <dgm:presLayoutVars>
          <dgm:bulletEnabled val="1"/>
        </dgm:presLayoutVars>
      </dgm:prSet>
      <dgm:spPr/>
    </dgm:pt>
    <dgm:pt modelId="{2F21F380-3DEB-49B9-802E-D96C60D6DEC0}" type="pres">
      <dgm:prSet presAssocID="{B1939085-C2EE-49FB-A072-89E3A38B12AF}" presName="parSpace" presStyleCnt="0"/>
      <dgm:spPr/>
    </dgm:pt>
    <dgm:pt modelId="{ECD0462F-FC86-43EC-9EE1-F98A4E3685E5}" type="pres">
      <dgm:prSet presAssocID="{0D86B1FE-AC4F-4FD1-AA3C-F1D7B07E3891}" presName="parTxOnly" presStyleLbl="node1" presStyleIdx="3" presStyleCnt="14" custScaleY="72955">
        <dgm:presLayoutVars>
          <dgm:bulletEnabled val="1"/>
        </dgm:presLayoutVars>
      </dgm:prSet>
      <dgm:spPr/>
    </dgm:pt>
    <dgm:pt modelId="{14C6B0AC-EAE3-41F4-A78F-8BCEF6B2062C}" type="pres">
      <dgm:prSet presAssocID="{D0EB1B8E-3D62-436B-81AE-22CFF478D2F7}" presName="parSpace" presStyleCnt="0"/>
      <dgm:spPr/>
    </dgm:pt>
    <dgm:pt modelId="{D851844B-5F9B-474F-BF45-9F1571037C6B}" type="pres">
      <dgm:prSet presAssocID="{97DD039A-6E5A-40AF-8817-8BECD499E1D2}" presName="parTxOnly" presStyleLbl="node1" presStyleIdx="4" presStyleCnt="14" custScaleY="72955">
        <dgm:presLayoutVars>
          <dgm:bulletEnabled val="1"/>
        </dgm:presLayoutVars>
      </dgm:prSet>
      <dgm:spPr/>
    </dgm:pt>
    <dgm:pt modelId="{D6B97D54-86A1-4294-8AE2-BB16CFC89823}" type="pres">
      <dgm:prSet presAssocID="{3E85B2B3-1759-4FE0-91CD-CCF04ACFDEA0}" presName="parSpace" presStyleCnt="0"/>
      <dgm:spPr/>
    </dgm:pt>
    <dgm:pt modelId="{21EE003F-A6AE-47D0-8F30-7E500E2B43C5}" type="pres">
      <dgm:prSet presAssocID="{C4109414-31C0-4083-AFBC-0DA7D9E02CA5}" presName="parTxOnly" presStyleLbl="node1" presStyleIdx="5" presStyleCnt="14" custScaleY="72955">
        <dgm:presLayoutVars>
          <dgm:bulletEnabled val="1"/>
        </dgm:presLayoutVars>
      </dgm:prSet>
      <dgm:spPr/>
    </dgm:pt>
    <dgm:pt modelId="{73780782-3044-4E1D-80A1-2A421F143FCB}" type="pres">
      <dgm:prSet presAssocID="{D57F9888-59DD-4B8B-8001-885D841C0BC9}" presName="parSpace" presStyleCnt="0"/>
      <dgm:spPr/>
    </dgm:pt>
    <dgm:pt modelId="{6B98CBCD-E89E-4180-8377-1128BB900E75}" type="pres">
      <dgm:prSet presAssocID="{B901B503-3290-41FB-B3F8-0B587FC33E3B}" presName="parTxOnly" presStyleLbl="node1" presStyleIdx="6" presStyleCnt="14" custScaleY="72955">
        <dgm:presLayoutVars>
          <dgm:bulletEnabled val="1"/>
        </dgm:presLayoutVars>
      </dgm:prSet>
      <dgm:spPr/>
    </dgm:pt>
    <dgm:pt modelId="{7532E259-5AF4-4BE9-8827-7DA286DF1CEB}" type="pres">
      <dgm:prSet presAssocID="{57454D4F-3791-4ABF-A2BC-076FD55B9CF3}" presName="parSpace" presStyleCnt="0"/>
      <dgm:spPr/>
    </dgm:pt>
    <dgm:pt modelId="{AF814335-286D-4A63-9B4D-2D3466461DDB}" type="pres">
      <dgm:prSet presAssocID="{6ADA94F4-E964-464C-B81A-A5997DE1D7EE}" presName="parTxOnly" presStyleLbl="node1" presStyleIdx="7" presStyleCnt="14" custScaleY="72955">
        <dgm:presLayoutVars>
          <dgm:bulletEnabled val="1"/>
        </dgm:presLayoutVars>
      </dgm:prSet>
      <dgm:spPr/>
    </dgm:pt>
    <dgm:pt modelId="{9E772E0C-A598-4235-BC54-43B82487BE6B}" type="pres">
      <dgm:prSet presAssocID="{75DFA3E5-F7D5-4357-B890-DAE32F1ECAD2}" presName="parSpace" presStyleCnt="0"/>
      <dgm:spPr/>
    </dgm:pt>
    <dgm:pt modelId="{A10BF886-FB56-4505-A18A-A6E570242149}" type="pres">
      <dgm:prSet presAssocID="{BBE09310-B4AE-4B0A-A01F-157614B446AF}" presName="parTxOnly" presStyleLbl="node1" presStyleIdx="8" presStyleCnt="14" custScaleY="72955">
        <dgm:presLayoutVars>
          <dgm:bulletEnabled val="1"/>
        </dgm:presLayoutVars>
      </dgm:prSet>
      <dgm:spPr/>
    </dgm:pt>
    <dgm:pt modelId="{B1B1D131-C83B-45DF-87BB-551769A4FBC2}" type="pres">
      <dgm:prSet presAssocID="{CDF7D30C-FA32-432A-953F-93CD0BF53FE5}" presName="parSpace" presStyleCnt="0"/>
      <dgm:spPr/>
    </dgm:pt>
    <dgm:pt modelId="{395877A3-2998-45B1-8766-D05006EF8E29}" type="pres">
      <dgm:prSet presAssocID="{59C00689-6E1F-4D4F-B61B-93E45C162884}" presName="parTxOnly" presStyleLbl="node1" presStyleIdx="9" presStyleCnt="14" custScaleY="72955">
        <dgm:presLayoutVars>
          <dgm:bulletEnabled val="1"/>
        </dgm:presLayoutVars>
      </dgm:prSet>
      <dgm:spPr/>
    </dgm:pt>
    <dgm:pt modelId="{E51B4D1F-BE70-4027-A953-1181740A4BB8}" type="pres">
      <dgm:prSet presAssocID="{A7649572-3E4D-4ECA-ADCC-1D212F68A805}" presName="parSpace" presStyleCnt="0"/>
      <dgm:spPr/>
    </dgm:pt>
    <dgm:pt modelId="{A379D365-20DF-4073-A1AB-BA299F9B590E}" type="pres">
      <dgm:prSet presAssocID="{12382D85-ACFD-490F-888C-2114F27C4BF7}" presName="parTxOnly" presStyleLbl="node1" presStyleIdx="10" presStyleCnt="14" custScaleY="72955">
        <dgm:presLayoutVars>
          <dgm:bulletEnabled val="1"/>
        </dgm:presLayoutVars>
      </dgm:prSet>
      <dgm:spPr/>
    </dgm:pt>
    <dgm:pt modelId="{90BD7D04-31E3-477D-8AA8-26AD80BB62E0}" type="pres">
      <dgm:prSet presAssocID="{9922AC5B-B516-4927-B774-10F116070995}" presName="parSpace" presStyleCnt="0"/>
      <dgm:spPr/>
    </dgm:pt>
    <dgm:pt modelId="{3ED65369-217E-4D49-9F64-4471C6F48357}" type="pres">
      <dgm:prSet presAssocID="{8EC9E499-5048-4496-9520-D91A43C8118D}" presName="parTxOnly" presStyleLbl="node1" presStyleIdx="11" presStyleCnt="14" custScaleY="72955">
        <dgm:presLayoutVars>
          <dgm:bulletEnabled val="1"/>
        </dgm:presLayoutVars>
      </dgm:prSet>
      <dgm:spPr/>
    </dgm:pt>
    <dgm:pt modelId="{1E8306B6-1370-4444-B39B-692DFBDC6CFD}" type="pres">
      <dgm:prSet presAssocID="{B36EEDC4-3639-4C95-9876-E0FE934E62ED}" presName="parSpace" presStyleCnt="0"/>
      <dgm:spPr/>
    </dgm:pt>
    <dgm:pt modelId="{2D49D640-C7D1-4468-B187-B2874A901B0B}" type="pres">
      <dgm:prSet presAssocID="{1BBE3D0C-6B6F-4B3A-A712-A00526757103}" presName="parTxOnly" presStyleLbl="node1" presStyleIdx="12" presStyleCnt="14" custScaleY="72955">
        <dgm:presLayoutVars>
          <dgm:bulletEnabled val="1"/>
        </dgm:presLayoutVars>
      </dgm:prSet>
      <dgm:spPr/>
    </dgm:pt>
    <dgm:pt modelId="{BB666EE6-0491-4B9A-A011-5CC94620A38F}" type="pres">
      <dgm:prSet presAssocID="{CAC54404-968E-47F7-A61A-1DA0B1A42840}" presName="parSpace" presStyleCnt="0"/>
      <dgm:spPr/>
    </dgm:pt>
    <dgm:pt modelId="{FF492FC4-140E-4C27-B8F3-3E7AF3B20685}" type="pres">
      <dgm:prSet presAssocID="{C7C767CE-B71D-44DD-9F07-1172A1A708BB}" presName="parTxOnly" presStyleLbl="node1" presStyleIdx="13" presStyleCnt="14" custScaleY="72955">
        <dgm:presLayoutVars>
          <dgm:bulletEnabled val="1"/>
        </dgm:presLayoutVars>
      </dgm:prSet>
      <dgm:spPr/>
    </dgm:pt>
  </dgm:ptLst>
  <dgm:cxnLst>
    <dgm:cxn modelId="{FED5B103-1C66-4321-A002-4F6D451F46E1}" type="presOf" srcId="{97DD039A-6E5A-40AF-8817-8BECD499E1D2}" destId="{D851844B-5F9B-474F-BF45-9F1571037C6B}" srcOrd="0" destOrd="0" presId="urn:microsoft.com/office/officeart/2005/8/layout/hChevron3"/>
    <dgm:cxn modelId="{FDB73E04-4643-4051-B61F-32206937C126}" type="presOf" srcId="{1BBE3D0C-6B6F-4B3A-A712-A00526757103}" destId="{2D49D640-C7D1-4468-B187-B2874A901B0B}" srcOrd="0" destOrd="0" presId="urn:microsoft.com/office/officeart/2005/8/layout/hChevron3"/>
    <dgm:cxn modelId="{CF3A7C11-1D1F-4917-8C1E-F7A6905A066D}" srcId="{FC295B7D-F857-4701-B417-8CA96F6BFFDD}" destId="{0D86B1FE-AC4F-4FD1-AA3C-F1D7B07E3891}" srcOrd="3" destOrd="0" parTransId="{9786C803-8CC5-49F3-B443-4FD751F8C0F2}" sibTransId="{D0EB1B8E-3D62-436B-81AE-22CFF478D2F7}"/>
    <dgm:cxn modelId="{4B114B18-FFCC-4E34-BC14-A8A8466BF32B}" srcId="{FC295B7D-F857-4701-B417-8CA96F6BFFDD}" destId="{8EC9E499-5048-4496-9520-D91A43C8118D}" srcOrd="11" destOrd="0" parTransId="{E076673E-F3DE-4CFA-A9E3-4364A71E63AB}" sibTransId="{B36EEDC4-3639-4C95-9876-E0FE934E62ED}"/>
    <dgm:cxn modelId="{B0D30623-49E5-4E75-BDEE-C8BF368B313C}" type="presOf" srcId="{FC295B7D-F857-4701-B417-8CA96F6BFFDD}" destId="{EEF8DC9F-A7A5-4737-B6D7-71E40C66DD58}" srcOrd="0" destOrd="0" presId="urn:microsoft.com/office/officeart/2005/8/layout/hChevron3"/>
    <dgm:cxn modelId="{CF24E739-EC0D-440F-A384-F98ECBC87BE3}" srcId="{FC295B7D-F857-4701-B417-8CA96F6BFFDD}" destId="{97DD039A-6E5A-40AF-8817-8BECD499E1D2}" srcOrd="4" destOrd="0" parTransId="{2DE9AB6D-5608-41E5-8EE2-B72BA286AE64}" sibTransId="{3E85B2B3-1759-4FE0-91CD-CCF04ACFDEA0}"/>
    <dgm:cxn modelId="{9568A93D-94F9-4966-83A3-C88683C6E04D}" srcId="{FC295B7D-F857-4701-B417-8CA96F6BFFDD}" destId="{A53DFD9A-4278-42D6-A32D-23B9914C2737}" srcOrd="0" destOrd="0" parTransId="{C30E3508-CF4C-4B17-87E1-A6BED450C84C}" sibTransId="{F913E39C-95FC-4BA4-ACCA-4E5091F2C97B}"/>
    <dgm:cxn modelId="{06509E40-E1EE-451C-BA75-8C2693C07295}" type="presOf" srcId="{59C00689-6E1F-4D4F-B61B-93E45C162884}" destId="{395877A3-2998-45B1-8766-D05006EF8E29}" srcOrd="0" destOrd="0" presId="urn:microsoft.com/office/officeart/2005/8/layout/hChevron3"/>
    <dgm:cxn modelId="{614B1048-AD29-4587-A462-527E202C49A3}" type="presOf" srcId="{8CE7B1C9-0BD2-4462-B32D-4D31702C3E76}" destId="{094020EB-3143-4343-84FC-A8D8663415FA}" srcOrd="0" destOrd="0" presId="urn:microsoft.com/office/officeart/2005/8/layout/hChevron3"/>
    <dgm:cxn modelId="{0B37EC69-6685-4A2E-B930-CE41DCF5CB7B}" type="presOf" srcId="{0D86B1FE-AC4F-4FD1-AA3C-F1D7B07E3891}" destId="{ECD0462F-FC86-43EC-9EE1-F98A4E3685E5}" srcOrd="0" destOrd="0" presId="urn:microsoft.com/office/officeart/2005/8/layout/hChevron3"/>
    <dgm:cxn modelId="{48224370-A21D-4159-8E3D-3AA4A5230E72}" srcId="{FC295B7D-F857-4701-B417-8CA96F6BFFDD}" destId="{C7C767CE-B71D-44DD-9F07-1172A1A708BB}" srcOrd="13" destOrd="0" parTransId="{12F37BFB-21C4-4647-BE4A-FB4ADB1A7835}" sibTransId="{0DF525DA-6D96-4524-BFE8-E8A7C9CA5F2C}"/>
    <dgm:cxn modelId="{7CBD5952-274C-45EF-8FAF-9CBC6A0E51D6}" type="presOf" srcId="{A53DFD9A-4278-42D6-A32D-23B9914C2737}" destId="{1CA2016E-9240-4939-AC74-35F63662D3AC}" srcOrd="0" destOrd="0" presId="urn:microsoft.com/office/officeart/2005/8/layout/hChevron3"/>
    <dgm:cxn modelId="{B2C53778-00A3-4ECB-B45E-D9A80FFF4430}" srcId="{FC295B7D-F857-4701-B417-8CA96F6BFFDD}" destId="{6ADA94F4-E964-464C-B81A-A5997DE1D7EE}" srcOrd="7" destOrd="0" parTransId="{B8F8B226-D0E3-4D08-B384-255160124048}" sibTransId="{75DFA3E5-F7D5-4357-B890-DAE32F1ECAD2}"/>
    <dgm:cxn modelId="{755D1F8B-CC6E-4B2E-8499-00ED7E1B81E1}" type="presOf" srcId="{C4109414-31C0-4083-AFBC-0DA7D9E02CA5}" destId="{21EE003F-A6AE-47D0-8F30-7E500E2B43C5}" srcOrd="0" destOrd="0" presId="urn:microsoft.com/office/officeart/2005/8/layout/hChevron3"/>
    <dgm:cxn modelId="{06E96791-C78B-4A04-B271-120309917277}" srcId="{FC295B7D-F857-4701-B417-8CA96F6BFFDD}" destId="{BBE09310-B4AE-4B0A-A01F-157614B446AF}" srcOrd="8" destOrd="0" parTransId="{58093D7E-E63E-4895-8BC2-606D5BC6CEFF}" sibTransId="{CDF7D30C-FA32-432A-953F-93CD0BF53FE5}"/>
    <dgm:cxn modelId="{05DF6F9B-635A-466C-A3E4-29E6C351B3A5}" type="presOf" srcId="{6ADA94F4-E964-464C-B81A-A5997DE1D7EE}" destId="{AF814335-286D-4A63-9B4D-2D3466461DDB}" srcOrd="0" destOrd="0" presId="urn:microsoft.com/office/officeart/2005/8/layout/hChevron3"/>
    <dgm:cxn modelId="{05F482A7-E4D3-4CE5-BBB0-FEBDDA1A0715}" type="presOf" srcId="{8EC9E499-5048-4496-9520-D91A43C8118D}" destId="{3ED65369-217E-4D49-9F64-4471C6F48357}" srcOrd="0" destOrd="0" presId="urn:microsoft.com/office/officeart/2005/8/layout/hChevron3"/>
    <dgm:cxn modelId="{E8394DAF-9D12-4B0A-896C-47AF58C463CD}" srcId="{FC295B7D-F857-4701-B417-8CA96F6BFFDD}" destId="{63EB9005-20D6-42A4-8C4A-7C18913D6523}" srcOrd="1" destOrd="0" parTransId="{25DDDD1A-08A4-409F-999B-57C5FB8AB6CB}" sibTransId="{93C1E42E-ED5E-4F1D-A7CD-F9740C80DF3F}"/>
    <dgm:cxn modelId="{61989EB0-1C4B-4BDD-B79D-B201D4A1D2E4}" type="presOf" srcId="{63EB9005-20D6-42A4-8C4A-7C18913D6523}" destId="{8B79A64D-9D22-4A79-A270-B7ADD22155D2}" srcOrd="0" destOrd="0" presId="urn:microsoft.com/office/officeart/2005/8/layout/hChevron3"/>
    <dgm:cxn modelId="{6B7121B2-1FEC-4832-A47B-0A99E724AC73}" type="presOf" srcId="{BBE09310-B4AE-4B0A-A01F-157614B446AF}" destId="{A10BF886-FB56-4505-A18A-A6E570242149}" srcOrd="0" destOrd="0" presId="urn:microsoft.com/office/officeart/2005/8/layout/hChevron3"/>
    <dgm:cxn modelId="{A585E6BB-D089-4675-89FE-67D979360D74}" srcId="{FC295B7D-F857-4701-B417-8CA96F6BFFDD}" destId="{1BBE3D0C-6B6F-4B3A-A712-A00526757103}" srcOrd="12" destOrd="0" parTransId="{8CA4EF54-DC83-45BA-BB4F-43A94C1BA681}" sibTransId="{CAC54404-968E-47F7-A61A-1DA0B1A42840}"/>
    <dgm:cxn modelId="{08293CC0-CF60-46A6-9A8B-B99354DEC368}" srcId="{FC295B7D-F857-4701-B417-8CA96F6BFFDD}" destId="{8CE7B1C9-0BD2-4462-B32D-4D31702C3E76}" srcOrd="2" destOrd="0" parTransId="{2AC01C37-0939-40DE-8923-1C6C6C2610E7}" sibTransId="{B1939085-C2EE-49FB-A072-89E3A38B12AF}"/>
    <dgm:cxn modelId="{15F2F4C3-F0C7-4093-8B53-BC515EE11E5A}" type="presOf" srcId="{12382D85-ACFD-490F-888C-2114F27C4BF7}" destId="{A379D365-20DF-4073-A1AB-BA299F9B590E}" srcOrd="0" destOrd="0" presId="urn:microsoft.com/office/officeart/2005/8/layout/hChevron3"/>
    <dgm:cxn modelId="{091C0BCA-7C60-424B-BAAF-6E61323AF5C6}" type="presOf" srcId="{C7C767CE-B71D-44DD-9F07-1172A1A708BB}" destId="{FF492FC4-140E-4C27-B8F3-3E7AF3B20685}" srcOrd="0" destOrd="0" presId="urn:microsoft.com/office/officeart/2005/8/layout/hChevron3"/>
    <dgm:cxn modelId="{56B06ACF-81EE-47CE-909C-8309BA40628F}" srcId="{FC295B7D-F857-4701-B417-8CA96F6BFFDD}" destId="{B901B503-3290-41FB-B3F8-0B587FC33E3B}" srcOrd="6" destOrd="0" parTransId="{6D4F6CFE-717B-46CE-9876-7C904312C07F}" sibTransId="{57454D4F-3791-4ABF-A2BC-076FD55B9CF3}"/>
    <dgm:cxn modelId="{3A57C3D0-2FDA-4BF1-89DB-CD5741083A75}" srcId="{FC295B7D-F857-4701-B417-8CA96F6BFFDD}" destId="{12382D85-ACFD-490F-888C-2114F27C4BF7}" srcOrd="10" destOrd="0" parTransId="{A7AB244B-E027-42E7-B6E3-5D858C1419CA}" sibTransId="{9922AC5B-B516-4927-B774-10F116070995}"/>
    <dgm:cxn modelId="{60D978E0-411C-498F-B2BF-ED02726DC0B0}" type="presOf" srcId="{B901B503-3290-41FB-B3F8-0B587FC33E3B}" destId="{6B98CBCD-E89E-4180-8377-1128BB900E75}" srcOrd="0" destOrd="0" presId="urn:microsoft.com/office/officeart/2005/8/layout/hChevron3"/>
    <dgm:cxn modelId="{6668B6E7-1C13-4DC7-A4D8-4E774C5F79A0}" srcId="{FC295B7D-F857-4701-B417-8CA96F6BFFDD}" destId="{C4109414-31C0-4083-AFBC-0DA7D9E02CA5}" srcOrd="5" destOrd="0" parTransId="{306C2B99-300B-44C4-B366-86CC00129EE1}" sibTransId="{D57F9888-59DD-4B8B-8001-885D841C0BC9}"/>
    <dgm:cxn modelId="{2575DBF3-3FAC-4B73-A1A1-483876B34AE7}" srcId="{FC295B7D-F857-4701-B417-8CA96F6BFFDD}" destId="{59C00689-6E1F-4D4F-B61B-93E45C162884}" srcOrd="9" destOrd="0" parTransId="{630BEF09-07F7-4558-A51F-C17A34876320}" sibTransId="{A7649572-3E4D-4ECA-ADCC-1D212F68A805}"/>
    <dgm:cxn modelId="{BBC2CD05-BE99-4BE9-8B50-CF4D28022165}" type="presParOf" srcId="{EEF8DC9F-A7A5-4737-B6D7-71E40C66DD58}" destId="{1CA2016E-9240-4939-AC74-35F63662D3AC}" srcOrd="0" destOrd="0" presId="urn:microsoft.com/office/officeart/2005/8/layout/hChevron3"/>
    <dgm:cxn modelId="{F0203C37-E732-442F-AE19-E7F361B3A063}" type="presParOf" srcId="{EEF8DC9F-A7A5-4737-B6D7-71E40C66DD58}" destId="{7E86FA99-36AC-4EDE-8AA2-3C83B26A6D7D}" srcOrd="1" destOrd="0" presId="urn:microsoft.com/office/officeart/2005/8/layout/hChevron3"/>
    <dgm:cxn modelId="{51AD80D2-26AE-48FE-B3CE-1AF68A632878}" type="presParOf" srcId="{EEF8DC9F-A7A5-4737-B6D7-71E40C66DD58}" destId="{8B79A64D-9D22-4A79-A270-B7ADD22155D2}" srcOrd="2" destOrd="0" presId="urn:microsoft.com/office/officeart/2005/8/layout/hChevron3"/>
    <dgm:cxn modelId="{0E323538-6FB8-4338-A254-7DB778198979}" type="presParOf" srcId="{EEF8DC9F-A7A5-4737-B6D7-71E40C66DD58}" destId="{67F152AC-FF39-4A5D-908E-235C1FA0FE5A}" srcOrd="3" destOrd="0" presId="urn:microsoft.com/office/officeart/2005/8/layout/hChevron3"/>
    <dgm:cxn modelId="{CF604A35-25CE-41AE-8BBA-97D3100B12EB}" type="presParOf" srcId="{EEF8DC9F-A7A5-4737-B6D7-71E40C66DD58}" destId="{094020EB-3143-4343-84FC-A8D8663415FA}" srcOrd="4" destOrd="0" presId="urn:microsoft.com/office/officeart/2005/8/layout/hChevron3"/>
    <dgm:cxn modelId="{3691FD85-63F1-4177-A9A0-8F041A8F7F42}" type="presParOf" srcId="{EEF8DC9F-A7A5-4737-B6D7-71E40C66DD58}" destId="{2F21F380-3DEB-49B9-802E-D96C60D6DEC0}" srcOrd="5" destOrd="0" presId="urn:microsoft.com/office/officeart/2005/8/layout/hChevron3"/>
    <dgm:cxn modelId="{B825CE78-984A-4825-A9BC-67B4FC7FEDB7}" type="presParOf" srcId="{EEF8DC9F-A7A5-4737-B6D7-71E40C66DD58}" destId="{ECD0462F-FC86-43EC-9EE1-F98A4E3685E5}" srcOrd="6" destOrd="0" presId="urn:microsoft.com/office/officeart/2005/8/layout/hChevron3"/>
    <dgm:cxn modelId="{F0DEBCFF-B2C1-45D7-AE29-A6FEA349086B}" type="presParOf" srcId="{EEF8DC9F-A7A5-4737-B6D7-71E40C66DD58}" destId="{14C6B0AC-EAE3-41F4-A78F-8BCEF6B2062C}" srcOrd="7" destOrd="0" presId="urn:microsoft.com/office/officeart/2005/8/layout/hChevron3"/>
    <dgm:cxn modelId="{4F0B3AAF-122E-40B1-91AC-C866E6A33E0F}" type="presParOf" srcId="{EEF8DC9F-A7A5-4737-B6D7-71E40C66DD58}" destId="{D851844B-5F9B-474F-BF45-9F1571037C6B}" srcOrd="8" destOrd="0" presId="urn:microsoft.com/office/officeart/2005/8/layout/hChevron3"/>
    <dgm:cxn modelId="{7762C01C-8888-4205-940A-3890AEBAAD5A}" type="presParOf" srcId="{EEF8DC9F-A7A5-4737-B6D7-71E40C66DD58}" destId="{D6B97D54-86A1-4294-8AE2-BB16CFC89823}" srcOrd="9" destOrd="0" presId="urn:microsoft.com/office/officeart/2005/8/layout/hChevron3"/>
    <dgm:cxn modelId="{181D047A-7024-499E-8939-C89A8C16FF42}" type="presParOf" srcId="{EEF8DC9F-A7A5-4737-B6D7-71E40C66DD58}" destId="{21EE003F-A6AE-47D0-8F30-7E500E2B43C5}" srcOrd="10" destOrd="0" presId="urn:microsoft.com/office/officeart/2005/8/layout/hChevron3"/>
    <dgm:cxn modelId="{461D789A-B67E-46C0-B193-ED47E8316F31}" type="presParOf" srcId="{EEF8DC9F-A7A5-4737-B6D7-71E40C66DD58}" destId="{73780782-3044-4E1D-80A1-2A421F143FCB}" srcOrd="11" destOrd="0" presId="urn:microsoft.com/office/officeart/2005/8/layout/hChevron3"/>
    <dgm:cxn modelId="{C6BAF284-5307-41D5-A599-44957CD732B2}" type="presParOf" srcId="{EEF8DC9F-A7A5-4737-B6D7-71E40C66DD58}" destId="{6B98CBCD-E89E-4180-8377-1128BB900E75}" srcOrd="12" destOrd="0" presId="urn:microsoft.com/office/officeart/2005/8/layout/hChevron3"/>
    <dgm:cxn modelId="{352AE785-5171-4D3E-B6EF-3B22D2E2077E}" type="presParOf" srcId="{EEF8DC9F-A7A5-4737-B6D7-71E40C66DD58}" destId="{7532E259-5AF4-4BE9-8827-7DA286DF1CEB}" srcOrd="13" destOrd="0" presId="urn:microsoft.com/office/officeart/2005/8/layout/hChevron3"/>
    <dgm:cxn modelId="{10BA4780-6A9F-43FE-AF11-C848BCE0CC18}" type="presParOf" srcId="{EEF8DC9F-A7A5-4737-B6D7-71E40C66DD58}" destId="{AF814335-286D-4A63-9B4D-2D3466461DDB}" srcOrd="14" destOrd="0" presId="urn:microsoft.com/office/officeart/2005/8/layout/hChevron3"/>
    <dgm:cxn modelId="{D8EEA65A-A9AC-470F-8D3C-84D61D64504F}" type="presParOf" srcId="{EEF8DC9F-A7A5-4737-B6D7-71E40C66DD58}" destId="{9E772E0C-A598-4235-BC54-43B82487BE6B}" srcOrd="15" destOrd="0" presId="urn:microsoft.com/office/officeart/2005/8/layout/hChevron3"/>
    <dgm:cxn modelId="{2306827D-8A75-4C05-81CC-927CC5421D63}" type="presParOf" srcId="{EEF8DC9F-A7A5-4737-B6D7-71E40C66DD58}" destId="{A10BF886-FB56-4505-A18A-A6E570242149}" srcOrd="16" destOrd="0" presId="urn:microsoft.com/office/officeart/2005/8/layout/hChevron3"/>
    <dgm:cxn modelId="{8AC25B6D-A7AB-416B-934D-145C5A954D36}" type="presParOf" srcId="{EEF8DC9F-A7A5-4737-B6D7-71E40C66DD58}" destId="{B1B1D131-C83B-45DF-87BB-551769A4FBC2}" srcOrd="17" destOrd="0" presId="urn:microsoft.com/office/officeart/2005/8/layout/hChevron3"/>
    <dgm:cxn modelId="{45D29DDD-7576-4BF9-AA58-8D20A4231A26}" type="presParOf" srcId="{EEF8DC9F-A7A5-4737-B6D7-71E40C66DD58}" destId="{395877A3-2998-45B1-8766-D05006EF8E29}" srcOrd="18" destOrd="0" presId="urn:microsoft.com/office/officeart/2005/8/layout/hChevron3"/>
    <dgm:cxn modelId="{59D46CB9-123C-4B81-B0E3-37C9110DED65}" type="presParOf" srcId="{EEF8DC9F-A7A5-4737-B6D7-71E40C66DD58}" destId="{E51B4D1F-BE70-4027-A953-1181740A4BB8}" srcOrd="19" destOrd="0" presId="urn:microsoft.com/office/officeart/2005/8/layout/hChevron3"/>
    <dgm:cxn modelId="{16C2B860-76BD-4DAE-A2A2-8E257EB4D8BF}" type="presParOf" srcId="{EEF8DC9F-A7A5-4737-B6D7-71E40C66DD58}" destId="{A379D365-20DF-4073-A1AB-BA299F9B590E}" srcOrd="20" destOrd="0" presId="urn:microsoft.com/office/officeart/2005/8/layout/hChevron3"/>
    <dgm:cxn modelId="{DDE2C823-8978-4656-ACB5-1317E77F2F6D}" type="presParOf" srcId="{EEF8DC9F-A7A5-4737-B6D7-71E40C66DD58}" destId="{90BD7D04-31E3-477D-8AA8-26AD80BB62E0}" srcOrd="21" destOrd="0" presId="urn:microsoft.com/office/officeart/2005/8/layout/hChevron3"/>
    <dgm:cxn modelId="{F5824407-8719-47CE-91EF-DE0227EDDB67}" type="presParOf" srcId="{EEF8DC9F-A7A5-4737-B6D7-71E40C66DD58}" destId="{3ED65369-217E-4D49-9F64-4471C6F48357}" srcOrd="22" destOrd="0" presId="urn:microsoft.com/office/officeart/2005/8/layout/hChevron3"/>
    <dgm:cxn modelId="{338838B8-546A-42B9-9C18-CD34E31DC45C}" type="presParOf" srcId="{EEF8DC9F-A7A5-4737-B6D7-71E40C66DD58}" destId="{1E8306B6-1370-4444-B39B-692DFBDC6CFD}" srcOrd="23" destOrd="0" presId="urn:microsoft.com/office/officeart/2005/8/layout/hChevron3"/>
    <dgm:cxn modelId="{023BBC86-6F0B-428E-A7B9-E7A266696288}" type="presParOf" srcId="{EEF8DC9F-A7A5-4737-B6D7-71E40C66DD58}" destId="{2D49D640-C7D1-4468-B187-B2874A901B0B}" srcOrd="24" destOrd="0" presId="urn:microsoft.com/office/officeart/2005/8/layout/hChevron3"/>
    <dgm:cxn modelId="{9A79F27C-0D5C-463E-9C67-BC68518626B1}" type="presParOf" srcId="{EEF8DC9F-A7A5-4737-B6D7-71E40C66DD58}" destId="{BB666EE6-0491-4B9A-A011-5CC94620A38F}" srcOrd="25" destOrd="0" presId="urn:microsoft.com/office/officeart/2005/8/layout/hChevron3"/>
    <dgm:cxn modelId="{FA173660-D176-420D-95DA-9B24168CEBA5}" type="presParOf" srcId="{EEF8DC9F-A7A5-4737-B6D7-71E40C66DD58}" destId="{FF492FC4-140E-4C27-B8F3-3E7AF3B20685}" srcOrd="2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80E8242-65C8-42DE-A0AE-C919471D461B}" type="doc">
      <dgm:prSet loTypeId="urn:microsoft.com/office/officeart/2005/8/layout/chevron1" loCatId="process" qsTypeId="urn:microsoft.com/office/officeart/2005/8/quickstyle/simple1" qsCatId="simple" csTypeId="urn:microsoft.com/office/officeart/2005/8/colors/colorful5" csCatId="colorful" phldr="1"/>
      <dgm:spPr/>
    </dgm:pt>
    <dgm:pt modelId="{BEDD61B1-22D0-4BFF-AE4B-4854FA3E80C9}">
      <dgm:prSet phldrT="[Text]" custT="1"/>
      <dgm:spPr>
        <a:solidFill>
          <a:srgbClr val="92D050"/>
        </a:solidFill>
      </dgm:spPr>
      <dgm:t>
        <a:bodyPr/>
        <a:lstStyle/>
        <a:p>
          <a:r>
            <a:rPr lang="nb-NO" sz="1000">
              <a:solidFill>
                <a:schemeClr val="tx1"/>
              </a:solidFill>
            </a:rPr>
            <a:t>Basiskurs BEVISST plan og BEVISST innsikt</a:t>
          </a:r>
        </a:p>
      </dgm:t>
    </dgm:pt>
    <dgm:pt modelId="{2A60E80D-6E9E-436C-A8EA-03346B4BD886}" type="parTrans" cxnId="{51E67AEC-8A21-4C42-8B0A-769FE04FF98C}">
      <dgm:prSet/>
      <dgm:spPr/>
      <dgm:t>
        <a:bodyPr/>
        <a:lstStyle/>
        <a:p>
          <a:endParaRPr lang="nb-NO"/>
        </a:p>
      </dgm:t>
    </dgm:pt>
    <dgm:pt modelId="{7D3CCF23-392C-4A4A-845A-1C34A97402EA}" type="sibTrans" cxnId="{51E67AEC-8A21-4C42-8B0A-769FE04FF98C}">
      <dgm:prSet/>
      <dgm:spPr/>
      <dgm:t>
        <a:bodyPr/>
        <a:lstStyle/>
        <a:p>
          <a:endParaRPr lang="nb-NO"/>
        </a:p>
      </dgm:t>
    </dgm:pt>
    <dgm:pt modelId="{8A03F8F1-C8F0-43B4-8011-4C5AF1C9D9E5}">
      <dgm:prSet phldrT="[Text]" custT="1"/>
      <dgm:spPr>
        <a:solidFill>
          <a:srgbClr val="92D050"/>
        </a:solidFill>
      </dgm:spPr>
      <dgm:t>
        <a:bodyPr/>
        <a:lstStyle/>
        <a:p>
          <a:r>
            <a:rPr lang="nb-NO" sz="1100">
              <a:solidFill>
                <a:schemeClr val="tx1"/>
              </a:solidFill>
            </a:rPr>
            <a:t>PBO-kurs </a:t>
          </a:r>
          <a:br>
            <a:rPr lang="nb-NO" sz="1100">
              <a:solidFill>
                <a:schemeClr val="tx1"/>
              </a:solidFill>
            </a:rPr>
          </a:br>
          <a:r>
            <a:rPr lang="nb-NO" sz="1100">
              <a:solidFill>
                <a:schemeClr val="tx1"/>
              </a:solidFill>
            </a:rPr>
            <a:t>(leveranser med ny </a:t>
          </a:r>
          <a:r>
            <a:rPr lang="nb-NO" sz="1100" err="1">
              <a:solidFill>
                <a:schemeClr val="tx1"/>
              </a:solidFill>
            </a:rPr>
            <a:t>økmodell</a:t>
          </a:r>
          <a:r>
            <a:rPr lang="nb-NO" sz="1100">
              <a:solidFill>
                <a:schemeClr val="tx1"/>
              </a:solidFill>
            </a:rPr>
            <a:t>)</a:t>
          </a:r>
        </a:p>
      </dgm:t>
    </dgm:pt>
    <dgm:pt modelId="{2689FBA7-15F9-4A5A-A11B-73D3F017C242}" type="parTrans" cxnId="{95568EF6-4557-4E0C-9B23-41B27DC48598}">
      <dgm:prSet/>
      <dgm:spPr/>
      <dgm:t>
        <a:bodyPr/>
        <a:lstStyle/>
        <a:p>
          <a:endParaRPr lang="nb-NO"/>
        </a:p>
      </dgm:t>
    </dgm:pt>
    <dgm:pt modelId="{14C0036C-4E46-4B9A-B7AC-73E1CBF1FCE3}" type="sibTrans" cxnId="{95568EF6-4557-4E0C-9B23-41B27DC48598}">
      <dgm:prSet/>
      <dgm:spPr/>
      <dgm:t>
        <a:bodyPr/>
        <a:lstStyle/>
        <a:p>
          <a:endParaRPr lang="nb-NO"/>
        </a:p>
      </dgm:t>
    </dgm:pt>
    <dgm:pt modelId="{88A2ADB9-7144-465A-B71E-8D8AF8244B44}">
      <dgm:prSet phldrT="[Text]" custT="1"/>
      <dgm:spPr>
        <a:solidFill>
          <a:srgbClr val="92D050"/>
        </a:solidFill>
      </dgm:spPr>
      <dgm:t>
        <a:bodyPr/>
        <a:lstStyle/>
        <a:p>
          <a:r>
            <a:rPr lang="nb-NO" sz="1100">
              <a:solidFill>
                <a:schemeClr val="tx1"/>
              </a:solidFill>
            </a:rPr>
            <a:t>Evaluering innføring</a:t>
          </a:r>
        </a:p>
      </dgm:t>
    </dgm:pt>
    <dgm:pt modelId="{B351AC3C-C88A-4967-BF68-06800A9D0B5C}" type="parTrans" cxnId="{2D5FEE29-616F-4D05-83D7-725E9E524571}">
      <dgm:prSet/>
      <dgm:spPr/>
      <dgm:t>
        <a:bodyPr/>
        <a:lstStyle/>
        <a:p>
          <a:endParaRPr lang="nb-NO"/>
        </a:p>
      </dgm:t>
    </dgm:pt>
    <dgm:pt modelId="{8CBE2686-5787-4D9E-8FAC-2E4281DE40E0}" type="sibTrans" cxnId="{2D5FEE29-616F-4D05-83D7-725E9E524571}">
      <dgm:prSet/>
      <dgm:spPr/>
      <dgm:t>
        <a:bodyPr/>
        <a:lstStyle/>
        <a:p>
          <a:endParaRPr lang="nb-NO"/>
        </a:p>
      </dgm:t>
    </dgm:pt>
    <dgm:pt modelId="{325E8F49-AC5A-443D-9803-696806910DCD}" type="pres">
      <dgm:prSet presAssocID="{680E8242-65C8-42DE-A0AE-C919471D461B}" presName="Name0" presStyleCnt="0">
        <dgm:presLayoutVars>
          <dgm:dir/>
          <dgm:animLvl val="lvl"/>
          <dgm:resizeHandles val="exact"/>
        </dgm:presLayoutVars>
      </dgm:prSet>
      <dgm:spPr/>
    </dgm:pt>
    <dgm:pt modelId="{B10FC968-B07E-4E0B-95BC-3FCC3841A247}" type="pres">
      <dgm:prSet presAssocID="{BEDD61B1-22D0-4BFF-AE4B-4854FA3E80C9}" presName="parTxOnly" presStyleLbl="node1" presStyleIdx="0" presStyleCnt="3" custScaleX="47911" custScaleY="38037">
        <dgm:presLayoutVars>
          <dgm:chMax val="0"/>
          <dgm:chPref val="0"/>
          <dgm:bulletEnabled val="1"/>
        </dgm:presLayoutVars>
      </dgm:prSet>
      <dgm:spPr/>
    </dgm:pt>
    <dgm:pt modelId="{321C5222-EC61-44A4-AEB6-3F0BD9768AD4}" type="pres">
      <dgm:prSet presAssocID="{7D3CCF23-392C-4A4A-845A-1C34A97402EA}" presName="parTxOnlySpace" presStyleCnt="0"/>
      <dgm:spPr/>
    </dgm:pt>
    <dgm:pt modelId="{432D3C07-0407-4281-A88F-11F2BF303211}" type="pres">
      <dgm:prSet presAssocID="{8A03F8F1-C8F0-43B4-8011-4C5AF1C9D9E5}" presName="parTxOnly" presStyleLbl="node1" presStyleIdx="1" presStyleCnt="3" custScaleX="68610" custScaleY="38037">
        <dgm:presLayoutVars>
          <dgm:chMax val="0"/>
          <dgm:chPref val="0"/>
          <dgm:bulletEnabled val="1"/>
        </dgm:presLayoutVars>
      </dgm:prSet>
      <dgm:spPr/>
    </dgm:pt>
    <dgm:pt modelId="{93DD8A0A-80F5-459C-8096-381B91AC9764}" type="pres">
      <dgm:prSet presAssocID="{14C0036C-4E46-4B9A-B7AC-73E1CBF1FCE3}" presName="parTxOnlySpace" presStyleCnt="0"/>
      <dgm:spPr/>
    </dgm:pt>
    <dgm:pt modelId="{94BA6246-3E8B-4551-A14B-AEA9610E13ED}" type="pres">
      <dgm:prSet presAssocID="{88A2ADB9-7144-465A-B71E-8D8AF8244B44}" presName="parTxOnly" presStyleLbl="node1" presStyleIdx="2" presStyleCnt="3" custScaleX="40353" custScaleY="38037">
        <dgm:presLayoutVars>
          <dgm:chMax val="0"/>
          <dgm:chPref val="0"/>
          <dgm:bulletEnabled val="1"/>
        </dgm:presLayoutVars>
      </dgm:prSet>
      <dgm:spPr/>
    </dgm:pt>
  </dgm:ptLst>
  <dgm:cxnLst>
    <dgm:cxn modelId="{2D5FEE29-616F-4D05-83D7-725E9E524571}" srcId="{680E8242-65C8-42DE-A0AE-C919471D461B}" destId="{88A2ADB9-7144-465A-B71E-8D8AF8244B44}" srcOrd="2" destOrd="0" parTransId="{B351AC3C-C88A-4967-BF68-06800A9D0B5C}" sibTransId="{8CBE2686-5787-4D9E-8FAC-2E4281DE40E0}"/>
    <dgm:cxn modelId="{ABAFF7A4-98FE-4457-A4D9-5E716761DAEB}" type="presOf" srcId="{8A03F8F1-C8F0-43B4-8011-4C5AF1C9D9E5}" destId="{432D3C07-0407-4281-A88F-11F2BF303211}" srcOrd="0" destOrd="0" presId="urn:microsoft.com/office/officeart/2005/8/layout/chevron1"/>
    <dgm:cxn modelId="{C64E1DC6-A886-482A-8267-7DB905660C73}" type="presOf" srcId="{BEDD61B1-22D0-4BFF-AE4B-4854FA3E80C9}" destId="{B10FC968-B07E-4E0B-95BC-3FCC3841A247}" srcOrd="0" destOrd="0" presId="urn:microsoft.com/office/officeart/2005/8/layout/chevron1"/>
    <dgm:cxn modelId="{4666D1EA-4E0E-42BF-A583-3C5EFBE673A3}" type="presOf" srcId="{88A2ADB9-7144-465A-B71E-8D8AF8244B44}" destId="{94BA6246-3E8B-4551-A14B-AEA9610E13ED}" srcOrd="0" destOrd="0" presId="urn:microsoft.com/office/officeart/2005/8/layout/chevron1"/>
    <dgm:cxn modelId="{51E67AEC-8A21-4C42-8B0A-769FE04FF98C}" srcId="{680E8242-65C8-42DE-A0AE-C919471D461B}" destId="{BEDD61B1-22D0-4BFF-AE4B-4854FA3E80C9}" srcOrd="0" destOrd="0" parTransId="{2A60E80D-6E9E-436C-A8EA-03346B4BD886}" sibTransId="{7D3CCF23-392C-4A4A-845A-1C34A97402EA}"/>
    <dgm:cxn modelId="{95568EF6-4557-4E0C-9B23-41B27DC48598}" srcId="{680E8242-65C8-42DE-A0AE-C919471D461B}" destId="{8A03F8F1-C8F0-43B4-8011-4C5AF1C9D9E5}" srcOrd="1" destOrd="0" parTransId="{2689FBA7-15F9-4A5A-A11B-73D3F017C242}" sibTransId="{14C0036C-4E46-4B9A-B7AC-73E1CBF1FCE3}"/>
    <dgm:cxn modelId="{7F5D83F7-A098-40CC-A7BF-D305FBE1546E}" type="presOf" srcId="{680E8242-65C8-42DE-A0AE-C919471D461B}" destId="{325E8F49-AC5A-443D-9803-696806910DCD}" srcOrd="0" destOrd="0" presId="urn:microsoft.com/office/officeart/2005/8/layout/chevron1"/>
    <dgm:cxn modelId="{96B5F95F-8B86-469F-B0EE-3DAB559A63B3}" type="presParOf" srcId="{325E8F49-AC5A-443D-9803-696806910DCD}" destId="{B10FC968-B07E-4E0B-95BC-3FCC3841A247}" srcOrd="0" destOrd="0" presId="urn:microsoft.com/office/officeart/2005/8/layout/chevron1"/>
    <dgm:cxn modelId="{5D6536D7-8387-430C-9A6F-F53BB3426FD6}" type="presParOf" srcId="{325E8F49-AC5A-443D-9803-696806910DCD}" destId="{321C5222-EC61-44A4-AEB6-3F0BD9768AD4}" srcOrd="1" destOrd="0" presId="urn:microsoft.com/office/officeart/2005/8/layout/chevron1"/>
    <dgm:cxn modelId="{4A4AB221-92C6-4C00-9852-7B4750DD3D3D}" type="presParOf" srcId="{325E8F49-AC5A-443D-9803-696806910DCD}" destId="{432D3C07-0407-4281-A88F-11F2BF303211}" srcOrd="2" destOrd="0" presId="urn:microsoft.com/office/officeart/2005/8/layout/chevron1"/>
    <dgm:cxn modelId="{B7C42E47-9A9A-44D3-BB13-07F553069255}" type="presParOf" srcId="{325E8F49-AC5A-443D-9803-696806910DCD}" destId="{93DD8A0A-80F5-459C-8096-381B91AC9764}" srcOrd="3" destOrd="0" presId="urn:microsoft.com/office/officeart/2005/8/layout/chevron1"/>
    <dgm:cxn modelId="{577F86A9-2B52-49BC-93FB-8788FF4A0728}" type="presParOf" srcId="{325E8F49-AC5A-443D-9803-696806910DCD}" destId="{94BA6246-3E8B-4551-A14B-AEA9610E13ED}" srcOrd="4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2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A2016E-9240-4939-AC74-35F63662D3AC}">
      <dsp:nvSpPr>
        <dsp:cNvPr id="0" name=""/>
        <dsp:cNvSpPr/>
      </dsp:nvSpPr>
      <dsp:spPr>
        <a:xfrm>
          <a:off x="5028" y="2554391"/>
          <a:ext cx="1061904" cy="309884"/>
        </a:xfrm>
        <a:prstGeom prst="homePlate">
          <a:avLst/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Jan</a:t>
          </a:r>
        </a:p>
      </dsp:txBody>
      <dsp:txXfrm>
        <a:off x="5028" y="2554391"/>
        <a:ext cx="984433" cy="309884"/>
      </dsp:txXfrm>
    </dsp:sp>
    <dsp:sp modelId="{8B79A64D-9D22-4A79-A270-B7ADD22155D2}">
      <dsp:nvSpPr>
        <dsp:cNvPr id="0" name=""/>
        <dsp:cNvSpPr/>
      </dsp:nvSpPr>
      <dsp:spPr>
        <a:xfrm>
          <a:off x="854551" y="2554391"/>
          <a:ext cx="1061904" cy="309884"/>
        </a:xfrm>
        <a:prstGeom prst="chevron">
          <a:avLst/>
        </a:prstGeom>
        <a:solidFill>
          <a:schemeClr val="accent1">
            <a:shade val="50000"/>
            <a:hueOff val="10901"/>
            <a:satOff val="4619"/>
            <a:lumOff val="443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Feb</a:t>
          </a:r>
          <a:endParaRPr lang="nb-NO" sz="1600" kern="1200">
            <a:solidFill>
              <a:schemeClr val="tx1"/>
            </a:solidFill>
          </a:endParaRPr>
        </a:p>
      </dsp:txBody>
      <dsp:txXfrm>
        <a:off x="1009493" y="2554391"/>
        <a:ext cx="752020" cy="309884"/>
      </dsp:txXfrm>
    </dsp:sp>
    <dsp:sp modelId="{094020EB-3143-4343-84FC-A8D8663415FA}">
      <dsp:nvSpPr>
        <dsp:cNvPr id="0" name=""/>
        <dsp:cNvSpPr/>
      </dsp:nvSpPr>
      <dsp:spPr>
        <a:xfrm>
          <a:off x="1704074" y="2554391"/>
          <a:ext cx="1061904" cy="309884"/>
        </a:xfrm>
        <a:prstGeom prst="chevron">
          <a:avLst/>
        </a:prstGeom>
        <a:solidFill>
          <a:schemeClr val="accent1">
            <a:shade val="50000"/>
            <a:hueOff val="21802"/>
            <a:satOff val="9238"/>
            <a:lumOff val="886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Mars</a:t>
          </a:r>
        </a:p>
      </dsp:txBody>
      <dsp:txXfrm>
        <a:off x="1859016" y="2554391"/>
        <a:ext cx="752020" cy="309884"/>
      </dsp:txXfrm>
    </dsp:sp>
    <dsp:sp modelId="{ECD0462F-FC86-43EC-9EE1-F98A4E3685E5}">
      <dsp:nvSpPr>
        <dsp:cNvPr id="0" name=""/>
        <dsp:cNvSpPr/>
      </dsp:nvSpPr>
      <dsp:spPr>
        <a:xfrm>
          <a:off x="2553598" y="2554391"/>
          <a:ext cx="1061904" cy="309884"/>
        </a:xfrm>
        <a:prstGeom prst="chevron">
          <a:avLst/>
        </a:prstGeom>
        <a:solidFill>
          <a:schemeClr val="accent1">
            <a:shade val="50000"/>
            <a:hueOff val="32703"/>
            <a:satOff val="13857"/>
            <a:lumOff val="1329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April</a:t>
          </a:r>
        </a:p>
      </dsp:txBody>
      <dsp:txXfrm>
        <a:off x="2708540" y="2554391"/>
        <a:ext cx="752020" cy="309884"/>
      </dsp:txXfrm>
    </dsp:sp>
    <dsp:sp modelId="{D851844B-5F9B-474F-BF45-9F1571037C6B}">
      <dsp:nvSpPr>
        <dsp:cNvPr id="0" name=""/>
        <dsp:cNvSpPr/>
      </dsp:nvSpPr>
      <dsp:spPr>
        <a:xfrm>
          <a:off x="3403121" y="2554391"/>
          <a:ext cx="1061904" cy="309884"/>
        </a:xfrm>
        <a:prstGeom prst="chevron">
          <a:avLst/>
        </a:prstGeom>
        <a:solidFill>
          <a:schemeClr val="accent1">
            <a:shade val="50000"/>
            <a:hueOff val="43604"/>
            <a:satOff val="18476"/>
            <a:lumOff val="1772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Mai</a:t>
          </a:r>
        </a:p>
      </dsp:txBody>
      <dsp:txXfrm>
        <a:off x="3558063" y="2554391"/>
        <a:ext cx="752020" cy="309884"/>
      </dsp:txXfrm>
    </dsp:sp>
    <dsp:sp modelId="{21EE003F-A6AE-47D0-8F30-7E500E2B43C5}">
      <dsp:nvSpPr>
        <dsp:cNvPr id="0" name=""/>
        <dsp:cNvSpPr/>
      </dsp:nvSpPr>
      <dsp:spPr>
        <a:xfrm>
          <a:off x="4252644" y="2554391"/>
          <a:ext cx="1061904" cy="309884"/>
        </a:xfrm>
        <a:prstGeom prst="chevron">
          <a:avLst/>
        </a:prstGeom>
        <a:solidFill>
          <a:schemeClr val="accent1">
            <a:shade val="50000"/>
            <a:hueOff val="54505"/>
            <a:satOff val="23095"/>
            <a:lumOff val="2215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Jun</a:t>
          </a:r>
          <a:endParaRPr lang="nb-NO" sz="1600" kern="1200">
            <a:solidFill>
              <a:schemeClr val="tx1"/>
            </a:solidFill>
          </a:endParaRPr>
        </a:p>
      </dsp:txBody>
      <dsp:txXfrm>
        <a:off x="4407586" y="2554391"/>
        <a:ext cx="752020" cy="309884"/>
      </dsp:txXfrm>
    </dsp:sp>
    <dsp:sp modelId="{6B98CBCD-E89E-4180-8377-1128BB900E75}">
      <dsp:nvSpPr>
        <dsp:cNvPr id="0" name=""/>
        <dsp:cNvSpPr/>
      </dsp:nvSpPr>
      <dsp:spPr>
        <a:xfrm>
          <a:off x="5102167" y="2554391"/>
          <a:ext cx="1061904" cy="309884"/>
        </a:xfrm>
        <a:prstGeom prst="chevron">
          <a:avLst/>
        </a:prstGeom>
        <a:solidFill>
          <a:schemeClr val="accent1">
            <a:shade val="50000"/>
            <a:hueOff val="65406"/>
            <a:satOff val="27714"/>
            <a:lumOff val="265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Jul</a:t>
          </a:r>
        </a:p>
      </dsp:txBody>
      <dsp:txXfrm>
        <a:off x="5257109" y="2554391"/>
        <a:ext cx="752020" cy="309884"/>
      </dsp:txXfrm>
    </dsp:sp>
    <dsp:sp modelId="{AF814335-286D-4A63-9B4D-2D3466461DDB}">
      <dsp:nvSpPr>
        <dsp:cNvPr id="0" name=""/>
        <dsp:cNvSpPr/>
      </dsp:nvSpPr>
      <dsp:spPr>
        <a:xfrm>
          <a:off x="5951691" y="2554391"/>
          <a:ext cx="1061904" cy="309884"/>
        </a:xfrm>
        <a:prstGeom prst="chevron">
          <a:avLst/>
        </a:prstGeom>
        <a:solidFill>
          <a:schemeClr val="accent1">
            <a:shade val="50000"/>
            <a:hueOff val="76306"/>
            <a:satOff val="32333"/>
            <a:lumOff val="3102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Aug</a:t>
          </a:r>
          <a:endParaRPr lang="nb-NO" sz="1600" kern="1200">
            <a:solidFill>
              <a:schemeClr val="tx1"/>
            </a:solidFill>
          </a:endParaRPr>
        </a:p>
      </dsp:txBody>
      <dsp:txXfrm>
        <a:off x="6106633" y="2554391"/>
        <a:ext cx="752020" cy="309884"/>
      </dsp:txXfrm>
    </dsp:sp>
    <dsp:sp modelId="{A10BF886-FB56-4505-A18A-A6E570242149}">
      <dsp:nvSpPr>
        <dsp:cNvPr id="0" name=""/>
        <dsp:cNvSpPr/>
      </dsp:nvSpPr>
      <dsp:spPr>
        <a:xfrm>
          <a:off x="6801214" y="2554391"/>
          <a:ext cx="1061904" cy="309884"/>
        </a:xfrm>
        <a:prstGeom prst="chevron">
          <a:avLst/>
        </a:prstGeom>
        <a:solidFill>
          <a:schemeClr val="accent1">
            <a:shade val="50000"/>
            <a:hueOff val="65406"/>
            <a:satOff val="27714"/>
            <a:lumOff val="265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Sept</a:t>
          </a:r>
          <a:endParaRPr lang="nb-NO" sz="1600" kern="1200">
            <a:solidFill>
              <a:schemeClr val="tx1"/>
            </a:solidFill>
          </a:endParaRPr>
        </a:p>
      </dsp:txBody>
      <dsp:txXfrm>
        <a:off x="6956156" y="2554391"/>
        <a:ext cx="752020" cy="309884"/>
      </dsp:txXfrm>
    </dsp:sp>
    <dsp:sp modelId="{395877A3-2998-45B1-8766-D05006EF8E29}">
      <dsp:nvSpPr>
        <dsp:cNvPr id="0" name=""/>
        <dsp:cNvSpPr/>
      </dsp:nvSpPr>
      <dsp:spPr>
        <a:xfrm>
          <a:off x="7650737" y="2554391"/>
          <a:ext cx="1061904" cy="309884"/>
        </a:xfrm>
        <a:prstGeom prst="chevron">
          <a:avLst/>
        </a:prstGeom>
        <a:solidFill>
          <a:schemeClr val="accent1">
            <a:shade val="50000"/>
            <a:hueOff val="54505"/>
            <a:satOff val="23095"/>
            <a:lumOff val="2215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Okt</a:t>
          </a:r>
          <a:endParaRPr lang="nb-NO" sz="1600" kern="1200">
            <a:solidFill>
              <a:schemeClr val="tx1"/>
            </a:solidFill>
          </a:endParaRPr>
        </a:p>
      </dsp:txBody>
      <dsp:txXfrm>
        <a:off x="7805679" y="2554391"/>
        <a:ext cx="752020" cy="309884"/>
      </dsp:txXfrm>
    </dsp:sp>
    <dsp:sp modelId="{A379D365-20DF-4073-A1AB-BA299F9B590E}">
      <dsp:nvSpPr>
        <dsp:cNvPr id="0" name=""/>
        <dsp:cNvSpPr/>
      </dsp:nvSpPr>
      <dsp:spPr>
        <a:xfrm>
          <a:off x="8500260" y="2554391"/>
          <a:ext cx="1061904" cy="309884"/>
        </a:xfrm>
        <a:prstGeom prst="chevron">
          <a:avLst/>
        </a:prstGeom>
        <a:solidFill>
          <a:schemeClr val="accent1">
            <a:shade val="50000"/>
            <a:hueOff val="43604"/>
            <a:satOff val="18476"/>
            <a:lumOff val="1772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Nov</a:t>
          </a:r>
        </a:p>
      </dsp:txBody>
      <dsp:txXfrm>
        <a:off x="8655202" y="2554391"/>
        <a:ext cx="752020" cy="309884"/>
      </dsp:txXfrm>
    </dsp:sp>
    <dsp:sp modelId="{3ED65369-217E-4D49-9F64-4471C6F48357}">
      <dsp:nvSpPr>
        <dsp:cNvPr id="0" name=""/>
        <dsp:cNvSpPr/>
      </dsp:nvSpPr>
      <dsp:spPr>
        <a:xfrm>
          <a:off x="9349784" y="2554391"/>
          <a:ext cx="1061904" cy="309884"/>
        </a:xfrm>
        <a:prstGeom prst="chevron">
          <a:avLst/>
        </a:prstGeom>
        <a:solidFill>
          <a:schemeClr val="accent1">
            <a:shade val="50000"/>
            <a:hueOff val="32703"/>
            <a:satOff val="13857"/>
            <a:lumOff val="1329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Des</a:t>
          </a:r>
        </a:p>
      </dsp:txBody>
      <dsp:txXfrm>
        <a:off x="9504726" y="2554391"/>
        <a:ext cx="752020" cy="309884"/>
      </dsp:txXfrm>
    </dsp:sp>
    <dsp:sp modelId="{2D49D640-C7D1-4468-B187-B2874A901B0B}">
      <dsp:nvSpPr>
        <dsp:cNvPr id="0" name=""/>
        <dsp:cNvSpPr/>
      </dsp:nvSpPr>
      <dsp:spPr>
        <a:xfrm>
          <a:off x="10199307" y="2554391"/>
          <a:ext cx="1061904" cy="309884"/>
        </a:xfrm>
        <a:prstGeom prst="chevron">
          <a:avLst/>
        </a:prstGeom>
        <a:solidFill>
          <a:schemeClr val="accent1">
            <a:shade val="50000"/>
            <a:hueOff val="21802"/>
            <a:satOff val="9238"/>
            <a:lumOff val="886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Jan</a:t>
          </a:r>
        </a:p>
      </dsp:txBody>
      <dsp:txXfrm>
        <a:off x="10354249" y="2554391"/>
        <a:ext cx="752020" cy="309884"/>
      </dsp:txXfrm>
    </dsp:sp>
    <dsp:sp modelId="{FF492FC4-140E-4C27-B8F3-3E7AF3B20685}">
      <dsp:nvSpPr>
        <dsp:cNvPr id="0" name=""/>
        <dsp:cNvSpPr/>
      </dsp:nvSpPr>
      <dsp:spPr>
        <a:xfrm>
          <a:off x="11048830" y="2554391"/>
          <a:ext cx="1061904" cy="309884"/>
        </a:xfrm>
        <a:prstGeom prst="chevron">
          <a:avLst/>
        </a:prstGeom>
        <a:solidFill>
          <a:schemeClr val="accent1">
            <a:shade val="50000"/>
            <a:hueOff val="10901"/>
            <a:satOff val="4619"/>
            <a:lumOff val="443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Feb</a:t>
          </a:r>
          <a:endParaRPr lang="nb-NO" sz="1600" kern="1200">
            <a:solidFill>
              <a:schemeClr val="tx1"/>
            </a:solidFill>
          </a:endParaRPr>
        </a:p>
      </dsp:txBody>
      <dsp:txXfrm>
        <a:off x="11203772" y="2554391"/>
        <a:ext cx="752020" cy="309884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0FC968-B07E-4E0B-95BC-3FCC3841A247}">
      <dsp:nvSpPr>
        <dsp:cNvPr id="0" name=""/>
        <dsp:cNvSpPr/>
      </dsp:nvSpPr>
      <dsp:spPr>
        <a:xfrm>
          <a:off x="3798" y="437675"/>
          <a:ext cx="1929203" cy="293524"/>
        </a:xfrm>
        <a:prstGeom prst="chevron">
          <a:avLst/>
        </a:prstGeom>
        <a:solidFill>
          <a:srgbClr val="92D05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 noProof="0"/>
            <a:t>Planlegge integrasjoner</a:t>
          </a:r>
        </a:p>
      </dsp:txBody>
      <dsp:txXfrm>
        <a:off x="150560" y="437675"/>
        <a:ext cx="1635679" cy="293524"/>
      </dsp:txXfrm>
    </dsp:sp>
    <dsp:sp modelId="{432D3C07-0407-4281-A88F-11F2BF303211}">
      <dsp:nvSpPr>
        <dsp:cNvPr id="0" name=""/>
        <dsp:cNvSpPr/>
      </dsp:nvSpPr>
      <dsp:spPr>
        <a:xfrm>
          <a:off x="1740081" y="437675"/>
          <a:ext cx="2689907" cy="293524"/>
        </a:xfrm>
        <a:prstGeom prst="chevron">
          <a:avLst/>
        </a:prstGeom>
        <a:solidFill>
          <a:srgbClr val="92D05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 noProof="0"/>
            <a:t>Remodellering DVH</a:t>
          </a:r>
        </a:p>
      </dsp:txBody>
      <dsp:txXfrm>
        <a:off x="1886843" y="437675"/>
        <a:ext cx="2396383" cy="293524"/>
      </dsp:txXfrm>
    </dsp:sp>
    <dsp:sp modelId="{94BA6246-3E8B-4551-A14B-AEA9610E13ED}">
      <dsp:nvSpPr>
        <dsp:cNvPr id="0" name=""/>
        <dsp:cNvSpPr/>
      </dsp:nvSpPr>
      <dsp:spPr>
        <a:xfrm>
          <a:off x="4237068" y="437675"/>
          <a:ext cx="2128393" cy="293524"/>
        </a:xfrm>
        <a:prstGeom prst="chevron">
          <a:avLst/>
        </a:prstGeom>
        <a:solidFill>
          <a:srgbClr val="92D05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 noProof="0"/>
            <a:t>Remodellering rapporter og moduler</a:t>
          </a:r>
        </a:p>
      </dsp:txBody>
      <dsp:txXfrm>
        <a:off x="4383830" y="437675"/>
        <a:ext cx="1834869" cy="293524"/>
      </dsp:txXfrm>
    </dsp:sp>
    <dsp:sp modelId="{727D323C-9DEE-43EE-8E41-FF394CBDB9D4}">
      <dsp:nvSpPr>
        <dsp:cNvPr id="0" name=""/>
        <dsp:cNvSpPr/>
      </dsp:nvSpPr>
      <dsp:spPr>
        <a:xfrm>
          <a:off x="6172541" y="437675"/>
          <a:ext cx="2128393" cy="293524"/>
        </a:xfrm>
        <a:prstGeom prst="chevron">
          <a:avLst/>
        </a:prstGeom>
        <a:solidFill>
          <a:srgbClr val="92D05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 noProof="0"/>
            <a:t>Remodellering rapporter og moduler</a:t>
          </a:r>
        </a:p>
      </dsp:txBody>
      <dsp:txXfrm>
        <a:off x="6319303" y="437675"/>
        <a:ext cx="1834869" cy="293524"/>
      </dsp:txXfrm>
    </dsp:sp>
    <dsp:sp modelId="{3A36C0A9-A881-4766-8700-50B4C00E58C9}">
      <dsp:nvSpPr>
        <dsp:cNvPr id="0" name=""/>
        <dsp:cNvSpPr/>
      </dsp:nvSpPr>
      <dsp:spPr>
        <a:xfrm>
          <a:off x="8108014" y="437675"/>
          <a:ext cx="2128393" cy="293524"/>
        </a:xfrm>
        <a:prstGeom prst="chevron">
          <a:avLst/>
        </a:prstGeom>
        <a:solidFill>
          <a:srgbClr val="92D05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" tIns="10668" rIns="10668" bIns="10668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800" kern="1200" noProof="0"/>
            <a:t>Tilpassing testfirma DFØ og mapping gamle plandata inn i ny modell (prosjekt)</a:t>
          </a:r>
        </a:p>
      </dsp:txBody>
      <dsp:txXfrm>
        <a:off x="8254776" y="437675"/>
        <a:ext cx="1834869" cy="293524"/>
      </dsp:txXfrm>
    </dsp:sp>
    <dsp:sp modelId="{24D5E83A-4E3D-4403-BF28-F0FEFE3C8129}">
      <dsp:nvSpPr>
        <dsp:cNvPr id="0" name=""/>
        <dsp:cNvSpPr/>
      </dsp:nvSpPr>
      <dsp:spPr>
        <a:xfrm>
          <a:off x="10043487" y="437675"/>
          <a:ext cx="2128393" cy="293524"/>
        </a:xfrm>
        <a:prstGeom prst="chevron">
          <a:avLst/>
        </a:prstGeom>
        <a:solidFill>
          <a:srgbClr val="92D05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 noProof="0"/>
            <a:t>Nedetid for </a:t>
          </a:r>
          <a:r>
            <a:rPr lang="nb-NO" sz="900" kern="1200" noProof="0" err="1"/>
            <a:t>mapping</a:t>
          </a:r>
          <a:endParaRPr lang="nb-NO" sz="900" kern="1200" noProof="0"/>
        </a:p>
      </dsp:txBody>
      <dsp:txXfrm>
        <a:off x="10190249" y="437675"/>
        <a:ext cx="1834869" cy="293524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A2016E-9240-4939-AC74-35F63662D3AC}">
      <dsp:nvSpPr>
        <dsp:cNvPr id="0" name=""/>
        <dsp:cNvSpPr/>
      </dsp:nvSpPr>
      <dsp:spPr>
        <a:xfrm>
          <a:off x="5028" y="184260"/>
          <a:ext cx="1061904" cy="309884"/>
        </a:xfrm>
        <a:prstGeom prst="homePlate">
          <a:avLst/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Jan</a:t>
          </a:r>
        </a:p>
      </dsp:txBody>
      <dsp:txXfrm>
        <a:off x="5028" y="184260"/>
        <a:ext cx="984433" cy="309884"/>
      </dsp:txXfrm>
    </dsp:sp>
    <dsp:sp modelId="{8B79A64D-9D22-4A79-A270-B7ADD22155D2}">
      <dsp:nvSpPr>
        <dsp:cNvPr id="0" name=""/>
        <dsp:cNvSpPr/>
      </dsp:nvSpPr>
      <dsp:spPr>
        <a:xfrm>
          <a:off x="854551" y="184260"/>
          <a:ext cx="1061904" cy="309884"/>
        </a:xfrm>
        <a:prstGeom prst="chevron">
          <a:avLst/>
        </a:prstGeom>
        <a:solidFill>
          <a:schemeClr val="accent1">
            <a:shade val="50000"/>
            <a:hueOff val="10901"/>
            <a:satOff val="4619"/>
            <a:lumOff val="443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Feb</a:t>
          </a:r>
          <a:endParaRPr lang="nb-NO" sz="1600" kern="1200">
            <a:solidFill>
              <a:schemeClr val="tx1"/>
            </a:solidFill>
          </a:endParaRPr>
        </a:p>
      </dsp:txBody>
      <dsp:txXfrm>
        <a:off x="1009493" y="184260"/>
        <a:ext cx="752020" cy="309884"/>
      </dsp:txXfrm>
    </dsp:sp>
    <dsp:sp modelId="{094020EB-3143-4343-84FC-A8D8663415FA}">
      <dsp:nvSpPr>
        <dsp:cNvPr id="0" name=""/>
        <dsp:cNvSpPr/>
      </dsp:nvSpPr>
      <dsp:spPr>
        <a:xfrm>
          <a:off x="1704074" y="184260"/>
          <a:ext cx="1061904" cy="309884"/>
        </a:xfrm>
        <a:prstGeom prst="chevron">
          <a:avLst/>
        </a:prstGeom>
        <a:solidFill>
          <a:schemeClr val="accent1">
            <a:shade val="50000"/>
            <a:hueOff val="21802"/>
            <a:satOff val="9238"/>
            <a:lumOff val="886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Mars</a:t>
          </a:r>
        </a:p>
      </dsp:txBody>
      <dsp:txXfrm>
        <a:off x="1859016" y="184260"/>
        <a:ext cx="752020" cy="309884"/>
      </dsp:txXfrm>
    </dsp:sp>
    <dsp:sp modelId="{ECD0462F-FC86-43EC-9EE1-F98A4E3685E5}">
      <dsp:nvSpPr>
        <dsp:cNvPr id="0" name=""/>
        <dsp:cNvSpPr/>
      </dsp:nvSpPr>
      <dsp:spPr>
        <a:xfrm>
          <a:off x="2553598" y="184260"/>
          <a:ext cx="1061904" cy="309884"/>
        </a:xfrm>
        <a:prstGeom prst="chevron">
          <a:avLst/>
        </a:prstGeom>
        <a:solidFill>
          <a:schemeClr val="accent1">
            <a:shade val="50000"/>
            <a:hueOff val="32703"/>
            <a:satOff val="13857"/>
            <a:lumOff val="1329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April</a:t>
          </a:r>
        </a:p>
      </dsp:txBody>
      <dsp:txXfrm>
        <a:off x="2708540" y="184260"/>
        <a:ext cx="752020" cy="309884"/>
      </dsp:txXfrm>
    </dsp:sp>
    <dsp:sp modelId="{D851844B-5F9B-474F-BF45-9F1571037C6B}">
      <dsp:nvSpPr>
        <dsp:cNvPr id="0" name=""/>
        <dsp:cNvSpPr/>
      </dsp:nvSpPr>
      <dsp:spPr>
        <a:xfrm>
          <a:off x="3403121" y="184260"/>
          <a:ext cx="1061904" cy="309884"/>
        </a:xfrm>
        <a:prstGeom prst="chevron">
          <a:avLst/>
        </a:prstGeom>
        <a:solidFill>
          <a:schemeClr val="accent1">
            <a:shade val="50000"/>
            <a:hueOff val="43604"/>
            <a:satOff val="18476"/>
            <a:lumOff val="1772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Mai</a:t>
          </a:r>
        </a:p>
      </dsp:txBody>
      <dsp:txXfrm>
        <a:off x="3558063" y="184260"/>
        <a:ext cx="752020" cy="309884"/>
      </dsp:txXfrm>
    </dsp:sp>
    <dsp:sp modelId="{21EE003F-A6AE-47D0-8F30-7E500E2B43C5}">
      <dsp:nvSpPr>
        <dsp:cNvPr id="0" name=""/>
        <dsp:cNvSpPr/>
      </dsp:nvSpPr>
      <dsp:spPr>
        <a:xfrm>
          <a:off x="4252644" y="184260"/>
          <a:ext cx="1061904" cy="309884"/>
        </a:xfrm>
        <a:prstGeom prst="chevron">
          <a:avLst/>
        </a:prstGeom>
        <a:solidFill>
          <a:schemeClr val="accent1">
            <a:shade val="50000"/>
            <a:hueOff val="54505"/>
            <a:satOff val="23095"/>
            <a:lumOff val="2215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Jun</a:t>
          </a:r>
          <a:endParaRPr lang="nb-NO" sz="1600" kern="1200">
            <a:solidFill>
              <a:schemeClr val="tx1"/>
            </a:solidFill>
          </a:endParaRPr>
        </a:p>
      </dsp:txBody>
      <dsp:txXfrm>
        <a:off x="4407586" y="184260"/>
        <a:ext cx="752020" cy="309884"/>
      </dsp:txXfrm>
    </dsp:sp>
    <dsp:sp modelId="{6B98CBCD-E89E-4180-8377-1128BB900E75}">
      <dsp:nvSpPr>
        <dsp:cNvPr id="0" name=""/>
        <dsp:cNvSpPr/>
      </dsp:nvSpPr>
      <dsp:spPr>
        <a:xfrm>
          <a:off x="5102167" y="184260"/>
          <a:ext cx="1061904" cy="309884"/>
        </a:xfrm>
        <a:prstGeom prst="chevron">
          <a:avLst/>
        </a:prstGeom>
        <a:solidFill>
          <a:schemeClr val="bg1">
            <a:lumMod val="8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>
                  <a:lumMod val="75000"/>
                </a:schemeClr>
              </a:solidFill>
            </a:rPr>
            <a:t>Jul</a:t>
          </a:r>
        </a:p>
      </dsp:txBody>
      <dsp:txXfrm>
        <a:off x="5257109" y="184260"/>
        <a:ext cx="752020" cy="309884"/>
      </dsp:txXfrm>
    </dsp:sp>
    <dsp:sp modelId="{AF814335-286D-4A63-9B4D-2D3466461DDB}">
      <dsp:nvSpPr>
        <dsp:cNvPr id="0" name=""/>
        <dsp:cNvSpPr/>
      </dsp:nvSpPr>
      <dsp:spPr>
        <a:xfrm>
          <a:off x="5951691" y="184260"/>
          <a:ext cx="1061904" cy="309884"/>
        </a:xfrm>
        <a:prstGeom prst="chevron">
          <a:avLst/>
        </a:prstGeom>
        <a:solidFill>
          <a:schemeClr val="bg1">
            <a:lumMod val="8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bg1">
                  <a:lumMod val="75000"/>
                </a:schemeClr>
              </a:solidFill>
            </a:rPr>
            <a:t>Aug</a:t>
          </a:r>
          <a:endParaRPr lang="nb-NO" sz="1600" kern="1200">
            <a:solidFill>
              <a:schemeClr val="bg1">
                <a:lumMod val="75000"/>
              </a:schemeClr>
            </a:solidFill>
          </a:endParaRPr>
        </a:p>
      </dsp:txBody>
      <dsp:txXfrm>
        <a:off x="6106633" y="184260"/>
        <a:ext cx="752020" cy="309884"/>
      </dsp:txXfrm>
    </dsp:sp>
    <dsp:sp modelId="{A10BF886-FB56-4505-A18A-A6E570242149}">
      <dsp:nvSpPr>
        <dsp:cNvPr id="0" name=""/>
        <dsp:cNvSpPr/>
      </dsp:nvSpPr>
      <dsp:spPr>
        <a:xfrm>
          <a:off x="6801214" y="184260"/>
          <a:ext cx="1061904" cy="309884"/>
        </a:xfrm>
        <a:prstGeom prst="chevron">
          <a:avLst/>
        </a:prstGeom>
        <a:solidFill>
          <a:schemeClr val="bg1">
            <a:lumMod val="8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bg1">
                  <a:lumMod val="75000"/>
                </a:schemeClr>
              </a:solidFill>
            </a:rPr>
            <a:t>Sept</a:t>
          </a:r>
          <a:endParaRPr lang="nb-NO" sz="1600" kern="1200">
            <a:solidFill>
              <a:schemeClr val="bg1">
                <a:lumMod val="75000"/>
              </a:schemeClr>
            </a:solidFill>
          </a:endParaRPr>
        </a:p>
      </dsp:txBody>
      <dsp:txXfrm>
        <a:off x="6956156" y="184260"/>
        <a:ext cx="752020" cy="309884"/>
      </dsp:txXfrm>
    </dsp:sp>
    <dsp:sp modelId="{395877A3-2998-45B1-8766-D05006EF8E29}">
      <dsp:nvSpPr>
        <dsp:cNvPr id="0" name=""/>
        <dsp:cNvSpPr/>
      </dsp:nvSpPr>
      <dsp:spPr>
        <a:xfrm>
          <a:off x="7650737" y="184260"/>
          <a:ext cx="1061904" cy="309884"/>
        </a:xfrm>
        <a:prstGeom prst="chevron">
          <a:avLst/>
        </a:prstGeom>
        <a:solidFill>
          <a:schemeClr val="bg1">
            <a:lumMod val="8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bg1">
                  <a:lumMod val="75000"/>
                </a:schemeClr>
              </a:solidFill>
            </a:rPr>
            <a:t>Okt</a:t>
          </a:r>
          <a:endParaRPr lang="nb-NO" sz="1600" kern="1200">
            <a:solidFill>
              <a:schemeClr val="bg1">
                <a:lumMod val="75000"/>
              </a:schemeClr>
            </a:solidFill>
          </a:endParaRPr>
        </a:p>
      </dsp:txBody>
      <dsp:txXfrm>
        <a:off x="7805679" y="184260"/>
        <a:ext cx="752020" cy="309884"/>
      </dsp:txXfrm>
    </dsp:sp>
    <dsp:sp modelId="{A379D365-20DF-4073-A1AB-BA299F9B590E}">
      <dsp:nvSpPr>
        <dsp:cNvPr id="0" name=""/>
        <dsp:cNvSpPr/>
      </dsp:nvSpPr>
      <dsp:spPr>
        <a:xfrm>
          <a:off x="8500260" y="184260"/>
          <a:ext cx="1061904" cy="309884"/>
        </a:xfrm>
        <a:prstGeom prst="chevron">
          <a:avLst/>
        </a:prstGeom>
        <a:solidFill>
          <a:schemeClr val="bg1">
            <a:lumMod val="8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>
                  <a:lumMod val="75000"/>
                </a:schemeClr>
              </a:solidFill>
            </a:rPr>
            <a:t>Nov</a:t>
          </a:r>
        </a:p>
      </dsp:txBody>
      <dsp:txXfrm>
        <a:off x="8655202" y="184260"/>
        <a:ext cx="752020" cy="309884"/>
      </dsp:txXfrm>
    </dsp:sp>
    <dsp:sp modelId="{3ED65369-217E-4D49-9F64-4471C6F48357}">
      <dsp:nvSpPr>
        <dsp:cNvPr id="0" name=""/>
        <dsp:cNvSpPr/>
      </dsp:nvSpPr>
      <dsp:spPr>
        <a:xfrm>
          <a:off x="9349784" y="184260"/>
          <a:ext cx="1061904" cy="309884"/>
        </a:xfrm>
        <a:prstGeom prst="chevron">
          <a:avLst/>
        </a:prstGeom>
        <a:solidFill>
          <a:schemeClr val="bg1">
            <a:lumMod val="8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>
                  <a:lumMod val="75000"/>
                </a:schemeClr>
              </a:solidFill>
            </a:rPr>
            <a:t>Des</a:t>
          </a:r>
        </a:p>
      </dsp:txBody>
      <dsp:txXfrm>
        <a:off x="9504726" y="184260"/>
        <a:ext cx="752020" cy="309884"/>
      </dsp:txXfrm>
    </dsp:sp>
    <dsp:sp modelId="{2D49D640-C7D1-4468-B187-B2874A901B0B}">
      <dsp:nvSpPr>
        <dsp:cNvPr id="0" name=""/>
        <dsp:cNvSpPr/>
      </dsp:nvSpPr>
      <dsp:spPr>
        <a:xfrm>
          <a:off x="10199307" y="184260"/>
          <a:ext cx="1061904" cy="309884"/>
        </a:xfrm>
        <a:prstGeom prst="chevron">
          <a:avLst/>
        </a:prstGeom>
        <a:solidFill>
          <a:schemeClr val="bg1">
            <a:lumMod val="8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>
                  <a:lumMod val="75000"/>
                </a:schemeClr>
              </a:solidFill>
            </a:rPr>
            <a:t>Jan</a:t>
          </a:r>
        </a:p>
      </dsp:txBody>
      <dsp:txXfrm>
        <a:off x="10354249" y="184260"/>
        <a:ext cx="752020" cy="309884"/>
      </dsp:txXfrm>
    </dsp:sp>
    <dsp:sp modelId="{FF492FC4-140E-4C27-B8F3-3E7AF3B20685}">
      <dsp:nvSpPr>
        <dsp:cNvPr id="0" name=""/>
        <dsp:cNvSpPr/>
      </dsp:nvSpPr>
      <dsp:spPr>
        <a:xfrm>
          <a:off x="11048830" y="184260"/>
          <a:ext cx="1061904" cy="309884"/>
        </a:xfrm>
        <a:prstGeom prst="chevron">
          <a:avLst/>
        </a:prstGeom>
        <a:solidFill>
          <a:schemeClr val="bg1">
            <a:lumMod val="8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bg1">
                  <a:lumMod val="75000"/>
                </a:schemeClr>
              </a:solidFill>
            </a:rPr>
            <a:t>Feb</a:t>
          </a:r>
          <a:endParaRPr lang="nb-NO" sz="1600" kern="1200">
            <a:solidFill>
              <a:schemeClr val="bg1">
                <a:lumMod val="75000"/>
              </a:schemeClr>
            </a:solidFill>
          </a:endParaRPr>
        </a:p>
      </dsp:txBody>
      <dsp:txXfrm>
        <a:off x="11203772" y="184260"/>
        <a:ext cx="752020" cy="309884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A2016E-9240-4939-AC74-35F63662D3AC}">
      <dsp:nvSpPr>
        <dsp:cNvPr id="0" name=""/>
        <dsp:cNvSpPr/>
      </dsp:nvSpPr>
      <dsp:spPr>
        <a:xfrm>
          <a:off x="6378" y="163406"/>
          <a:ext cx="1183567" cy="345388"/>
        </a:xfrm>
        <a:prstGeom prst="homePlate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>
                  <a:lumMod val="85000"/>
                </a:schemeClr>
              </a:solidFill>
            </a:rPr>
            <a:t>Jan</a:t>
          </a:r>
        </a:p>
      </dsp:txBody>
      <dsp:txXfrm>
        <a:off x="6378" y="163406"/>
        <a:ext cx="1097220" cy="345388"/>
      </dsp:txXfrm>
    </dsp:sp>
    <dsp:sp modelId="{8B79A64D-9D22-4A79-A270-B7ADD22155D2}">
      <dsp:nvSpPr>
        <dsp:cNvPr id="0" name=""/>
        <dsp:cNvSpPr/>
      </dsp:nvSpPr>
      <dsp:spPr>
        <a:xfrm>
          <a:off x="953232" y="163406"/>
          <a:ext cx="1183567" cy="345388"/>
        </a:xfrm>
        <a:prstGeom prst="chevron">
          <a:avLst/>
        </a:prstGeom>
        <a:solidFill>
          <a:schemeClr val="accent1">
            <a:shade val="50000"/>
            <a:hueOff val="12718"/>
            <a:satOff val="5389"/>
            <a:lumOff val="517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Feb</a:t>
          </a:r>
          <a:endParaRPr lang="nb-NO" sz="1600" kern="1200">
            <a:solidFill>
              <a:schemeClr val="tx1"/>
            </a:solidFill>
          </a:endParaRPr>
        </a:p>
      </dsp:txBody>
      <dsp:txXfrm>
        <a:off x="1125926" y="163406"/>
        <a:ext cx="838179" cy="345388"/>
      </dsp:txXfrm>
    </dsp:sp>
    <dsp:sp modelId="{094020EB-3143-4343-84FC-A8D8663415FA}">
      <dsp:nvSpPr>
        <dsp:cNvPr id="0" name=""/>
        <dsp:cNvSpPr/>
      </dsp:nvSpPr>
      <dsp:spPr>
        <a:xfrm>
          <a:off x="1900085" y="163406"/>
          <a:ext cx="1183567" cy="345388"/>
        </a:xfrm>
        <a:prstGeom prst="chevron">
          <a:avLst/>
        </a:prstGeom>
        <a:solidFill>
          <a:schemeClr val="accent1">
            <a:shade val="50000"/>
            <a:hueOff val="25435"/>
            <a:satOff val="10778"/>
            <a:lumOff val="1034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Mars</a:t>
          </a:r>
        </a:p>
      </dsp:txBody>
      <dsp:txXfrm>
        <a:off x="2072779" y="163406"/>
        <a:ext cx="838179" cy="345388"/>
      </dsp:txXfrm>
    </dsp:sp>
    <dsp:sp modelId="{ECD0462F-FC86-43EC-9EE1-F98A4E3685E5}">
      <dsp:nvSpPr>
        <dsp:cNvPr id="0" name=""/>
        <dsp:cNvSpPr/>
      </dsp:nvSpPr>
      <dsp:spPr>
        <a:xfrm>
          <a:off x="2846939" y="163406"/>
          <a:ext cx="1183567" cy="345388"/>
        </a:xfrm>
        <a:prstGeom prst="chevron">
          <a:avLst/>
        </a:prstGeom>
        <a:solidFill>
          <a:schemeClr val="accent1">
            <a:shade val="50000"/>
            <a:hueOff val="38153"/>
            <a:satOff val="16166"/>
            <a:lumOff val="1551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April</a:t>
          </a:r>
        </a:p>
      </dsp:txBody>
      <dsp:txXfrm>
        <a:off x="3019633" y="163406"/>
        <a:ext cx="838179" cy="345388"/>
      </dsp:txXfrm>
    </dsp:sp>
    <dsp:sp modelId="{D851844B-5F9B-474F-BF45-9F1571037C6B}">
      <dsp:nvSpPr>
        <dsp:cNvPr id="0" name=""/>
        <dsp:cNvSpPr/>
      </dsp:nvSpPr>
      <dsp:spPr>
        <a:xfrm>
          <a:off x="3793793" y="163406"/>
          <a:ext cx="1183567" cy="345388"/>
        </a:xfrm>
        <a:prstGeom prst="chevron">
          <a:avLst/>
        </a:prstGeom>
        <a:solidFill>
          <a:schemeClr val="accent1">
            <a:shade val="50000"/>
            <a:hueOff val="50871"/>
            <a:satOff val="21555"/>
            <a:lumOff val="2068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Mai</a:t>
          </a:r>
        </a:p>
      </dsp:txBody>
      <dsp:txXfrm>
        <a:off x="3966487" y="163406"/>
        <a:ext cx="838179" cy="345388"/>
      </dsp:txXfrm>
    </dsp:sp>
    <dsp:sp modelId="{21EE003F-A6AE-47D0-8F30-7E500E2B43C5}">
      <dsp:nvSpPr>
        <dsp:cNvPr id="0" name=""/>
        <dsp:cNvSpPr/>
      </dsp:nvSpPr>
      <dsp:spPr>
        <a:xfrm>
          <a:off x="4740647" y="163406"/>
          <a:ext cx="1183567" cy="345388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bg1">
                  <a:lumMod val="85000"/>
                </a:schemeClr>
              </a:solidFill>
            </a:rPr>
            <a:t>Jun</a:t>
          </a:r>
          <a:endParaRPr lang="nb-NO" sz="1600" kern="1200">
            <a:solidFill>
              <a:schemeClr val="bg1">
                <a:lumMod val="85000"/>
              </a:schemeClr>
            </a:solidFill>
          </a:endParaRPr>
        </a:p>
      </dsp:txBody>
      <dsp:txXfrm>
        <a:off x="4913341" y="163406"/>
        <a:ext cx="838179" cy="345388"/>
      </dsp:txXfrm>
    </dsp:sp>
    <dsp:sp modelId="{6B98CBCD-E89E-4180-8377-1128BB900E75}">
      <dsp:nvSpPr>
        <dsp:cNvPr id="0" name=""/>
        <dsp:cNvSpPr/>
      </dsp:nvSpPr>
      <dsp:spPr>
        <a:xfrm>
          <a:off x="5687500" y="163406"/>
          <a:ext cx="1183567" cy="345388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>
                  <a:lumMod val="85000"/>
                </a:schemeClr>
              </a:solidFill>
            </a:rPr>
            <a:t>Jul</a:t>
          </a:r>
        </a:p>
      </dsp:txBody>
      <dsp:txXfrm>
        <a:off x="5860194" y="163406"/>
        <a:ext cx="838179" cy="345388"/>
      </dsp:txXfrm>
    </dsp:sp>
    <dsp:sp modelId="{AF814335-286D-4A63-9B4D-2D3466461DDB}">
      <dsp:nvSpPr>
        <dsp:cNvPr id="0" name=""/>
        <dsp:cNvSpPr/>
      </dsp:nvSpPr>
      <dsp:spPr>
        <a:xfrm>
          <a:off x="6634354" y="163406"/>
          <a:ext cx="1183567" cy="345388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bg1">
                  <a:lumMod val="85000"/>
                </a:schemeClr>
              </a:solidFill>
            </a:rPr>
            <a:t>Aug</a:t>
          </a:r>
          <a:endParaRPr lang="nb-NO" sz="1600" kern="1200">
            <a:solidFill>
              <a:schemeClr val="bg1">
                <a:lumMod val="85000"/>
              </a:schemeClr>
            </a:solidFill>
          </a:endParaRPr>
        </a:p>
      </dsp:txBody>
      <dsp:txXfrm>
        <a:off x="6807048" y="163406"/>
        <a:ext cx="838179" cy="345388"/>
      </dsp:txXfrm>
    </dsp:sp>
    <dsp:sp modelId="{A10BF886-FB56-4505-A18A-A6E570242149}">
      <dsp:nvSpPr>
        <dsp:cNvPr id="0" name=""/>
        <dsp:cNvSpPr/>
      </dsp:nvSpPr>
      <dsp:spPr>
        <a:xfrm>
          <a:off x="7581208" y="163406"/>
          <a:ext cx="1183567" cy="345388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bg1">
                  <a:lumMod val="85000"/>
                </a:schemeClr>
              </a:solidFill>
            </a:rPr>
            <a:t>Sept</a:t>
          </a:r>
          <a:endParaRPr lang="nb-NO" sz="1600" kern="1200">
            <a:solidFill>
              <a:schemeClr val="bg1">
                <a:lumMod val="85000"/>
              </a:schemeClr>
            </a:solidFill>
          </a:endParaRPr>
        </a:p>
      </dsp:txBody>
      <dsp:txXfrm>
        <a:off x="7753902" y="163406"/>
        <a:ext cx="838179" cy="345388"/>
      </dsp:txXfrm>
    </dsp:sp>
    <dsp:sp modelId="{395877A3-2998-45B1-8766-D05006EF8E29}">
      <dsp:nvSpPr>
        <dsp:cNvPr id="0" name=""/>
        <dsp:cNvSpPr/>
      </dsp:nvSpPr>
      <dsp:spPr>
        <a:xfrm>
          <a:off x="8528061" y="163406"/>
          <a:ext cx="1183567" cy="345388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bg1">
                  <a:lumMod val="85000"/>
                </a:schemeClr>
              </a:solidFill>
            </a:rPr>
            <a:t>Okt</a:t>
          </a:r>
          <a:endParaRPr lang="nb-NO" sz="1600" kern="1200">
            <a:solidFill>
              <a:schemeClr val="bg1">
                <a:lumMod val="85000"/>
              </a:schemeClr>
            </a:solidFill>
          </a:endParaRPr>
        </a:p>
      </dsp:txBody>
      <dsp:txXfrm>
        <a:off x="8700755" y="163406"/>
        <a:ext cx="838179" cy="345388"/>
      </dsp:txXfrm>
    </dsp:sp>
    <dsp:sp modelId="{A379D365-20DF-4073-A1AB-BA299F9B590E}">
      <dsp:nvSpPr>
        <dsp:cNvPr id="0" name=""/>
        <dsp:cNvSpPr/>
      </dsp:nvSpPr>
      <dsp:spPr>
        <a:xfrm>
          <a:off x="9474915" y="163406"/>
          <a:ext cx="1183567" cy="345388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>
                  <a:lumMod val="85000"/>
                </a:schemeClr>
              </a:solidFill>
            </a:rPr>
            <a:t>Nov</a:t>
          </a:r>
        </a:p>
      </dsp:txBody>
      <dsp:txXfrm>
        <a:off x="9647609" y="163406"/>
        <a:ext cx="838179" cy="345388"/>
      </dsp:txXfrm>
    </dsp:sp>
    <dsp:sp modelId="{3ED65369-217E-4D49-9F64-4471C6F48357}">
      <dsp:nvSpPr>
        <dsp:cNvPr id="0" name=""/>
        <dsp:cNvSpPr/>
      </dsp:nvSpPr>
      <dsp:spPr>
        <a:xfrm>
          <a:off x="10421769" y="163406"/>
          <a:ext cx="1183567" cy="345388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>
                  <a:lumMod val="85000"/>
                </a:schemeClr>
              </a:solidFill>
            </a:rPr>
            <a:t>Des</a:t>
          </a:r>
        </a:p>
      </dsp:txBody>
      <dsp:txXfrm>
        <a:off x="10594463" y="163406"/>
        <a:ext cx="838179" cy="345388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A2016E-9240-4939-AC74-35F63662D3AC}">
      <dsp:nvSpPr>
        <dsp:cNvPr id="0" name=""/>
        <dsp:cNvSpPr/>
      </dsp:nvSpPr>
      <dsp:spPr>
        <a:xfrm>
          <a:off x="5028" y="327040"/>
          <a:ext cx="1061904" cy="309884"/>
        </a:xfrm>
        <a:prstGeom prst="homePlate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>
                  <a:lumMod val="75000"/>
                </a:schemeClr>
              </a:solidFill>
            </a:rPr>
            <a:t>Jan</a:t>
          </a:r>
        </a:p>
      </dsp:txBody>
      <dsp:txXfrm>
        <a:off x="5028" y="327040"/>
        <a:ext cx="984433" cy="309884"/>
      </dsp:txXfrm>
    </dsp:sp>
    <dsp:sp modelId="{8B79A64D-9D22-4A79-A270-B7ADD22155D2}">
      <dsp:nvSpPr>
        <dsp:cNvPr id="0" name=""/>
        <dsp:cNvSpPr/>
      </dsp:nvSpPr>
      <dsp:spPr>
        <a:xfrm>
          <a:off x="854551" y="327040"/>
          <a:ext cx="1061904" cy="309884"/>
        </a:xfrm>
        <a:prstGeom prst="chevron">
          <a:avLst/>
        </a:prstGeom>
        <a:solidFill>
          <a:schemeClr val="accent1">
            <a:shade val="50000"/>
            <a:hueOff val="10901"/>
            <a:satOff val="4619"/>
            <a:lumOff val="443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Feb</a:t>
          </a:r>
          <a:endParaRPr lang="nb-NO" sz="1600" kern="1200">
            <a:solidFill>
              <a:schemeClr val="tx1"/>
            </a:solidFill>
          </a:endParaRPr>
        </a:p>
      </dsp:txBody>
      <dsp:txXfrm>
        <a:off x="1009493" y="327040"/>
        <a:ext cx="752020" cy="309884"/>
      </dsp:txXfrm>
    </dsp:sp>
    <dsp:sp modelId="{094020EB-3143-4343-84FC-A8D8663415FA}">
      <dsp:nvSpPr>
        <dsp:cNvPr id="0" name=""/>
        <dsp:cNvSpPr/>
      </dsp:nvSpPr>
      <dsp:spPr>
        <a:xfrm>
          <a:off x="1704074" y="327040"/>
          <a:ext cx="1061904" cy="309884"/>
        </a:xfrm>
        <a:prstGeom prst="chevron">
          <a:avLst/>
        </a:prstGeom>
        <a:solidFill>
          <a:schemeClr val="accent1">
            <a:shade val="50000"/>
            <a:hueOff val="21802"/>
            <a:satOff val="9238"/>
            <a:lumOff val="886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Mars</a:t>
          </a:r>
        </a:p>
      </dsp:txBody>
      <dsp:txXfrm>
        <a:off x="1859016" y="327040"/>
        <a:ext cx="752020" cy="309884"/>
      </dsp:txXfrm>
    </dsp:sp>
    <dsp:sp modelId="{ECD0462F-FC86-43EC-9EE1-F98A4E3685E5}">
      <dsp:nvSpPr>
        <dsp:cNvPr id="0" name=""/>
        <dsp:cNvSpPr/>
      </dsp:nvSpPr>
      <dsp:spPr>
        <a:xfrm>
          <a:off x="2553598" y="327040"/>
          <a:ext cx="1061904" cy="309884"/>
        </a:xfrm>
        <a:prstGeom prst="chevron">
          <a:avLst/>
        </a:prstGeom>
        <a:solidFill>
          <a:schemeClr val="accent1">
            <a:shade val="50000"/>
            <a:hueOff val="32703"/>
            <a:satOff val="13857"/>
            <a:lumOff val="1329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April</a:t>
          </a:r>
        </a:p>
      </dsp:txBody>
      <dsp:txXfrm>
        <a:off x="2708540" y="327040"/>
        <a:ext cx="752020" cy="309884"/>
      </dsp:txXfrm>
    </dsp:sp>
    <dsp:sp modelId="{D851844B-5F9B-474F-BF45-9F1571037C6B}">
      <dsp:nvSpPr>
        <dsp:cNvPr id="0" name=""/>
        <dsp:cNvSpPr/>
      </dsp:nvSpPr>
      <dsp:spPr>
        <a:xfrm>
          <a:off x="3403121" y="327040"/>
          <a:ext cx="1061904" cy="309884"/>
        </a:xfrm>
        <a:prstGeom prst="chevron">
          <a:avLst/>
        </a:prstGeom>
        <a:solidFill>
          <a:srgbClr val="A3B3D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Mai</a:t>
          </a:r>
        </a:p>
      </dsp:txBody>
      <dsp:txXfrm>
        <a:off x="3558063" y="327040"/>
        <a:ext cx="752020" cy="309884"/>
      </dsp:txXfrm>
    </dsp:sp>
    <dsp:sp modelId="{21EE003F-A6AE-47D0-8F30-7E500E2B43C5}">
      <dsp:nvSpPr>
        <dsp:cNvPr id="0" name=""/>
        <dsp:cNvSpPr/>
      </dsp:nvSpPr>
      <dsp:spPr>
        <a:xfrm>
          <a:off x="4252644" y="327040"/>
          <a:ext cx="1061904" cy="309884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bg1">
                  <a:lumMod val="75000"/>
                </a:schemeClr>
              </a:solidFill>
            </a:rPr>
            <a:t>Jun</a:t>
          </a:r>
          <a:endParaRPr lang="nb-NO" sz="1600" kern="1200">
            <a:solidFill>
              <a:schemeClr val="bg1">
                <a:lumMod val="75000"/>
              </a:schemeClr>
            </a:solidFill>
          </a:endParaRPr>
        </a:p>
      </dsp:txBody>
      <dsp:txXfrm>
        <a:off x="4407586" y="327040"/>
        <a:ext cx="752020" cy="309884"/>
      </dsp:txXfrm>
    </dsp:sp>
    <dsp:sp modelId="{6B98CBCD-E89E-4180-8377-1128BB900E75}">
      <dsp:nvSpPr>
        <dsp:cNvPr id="0" name=""/>
        <dsp:cNvSpPr/>
      </dsp:nvSpPr>
      <dsp:spPr>
        <a:xfrm>
          <a:off x="5102167" y="327040"/>
          <a:ext cx="1061904" cy="309884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>
                  <a:lumMod val="75000"/>
                </a:schemeClr>
              </a:solidFill>
            </a:rPr>
            <a:t>Jul</a:t>
          </a:r>
        </a:p>
      </dsp:txBody>
      <dsp:txXfrm>
        <a:off x="5257109" y="327040"/>
        <a:ext cx="752020" cy="309884"/>
      </dsp:txXfrm>
    </dsp:sp>
    <dsp:sp modelId="{AF814335-286D-4A63-9B4D-2D3466461DDB}">
      <dsp:nvSpPr>
        <dsp:cNvPr id="0" name=""/>
        <dsp:cNvSpPr/>
      </dsp:nvSpPr>
      <dsp:spPr>
        <a:xfrm>
          <a:off x="5951691" y="327040"/>
          <a:ext cx="1061904" cy="309884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bg1">
                  <a:lumMod val="75000"/>
                </a:schemeClr>
              </a:solidFill>
            </a:rPr>
            <a:t>Aug</a:t>
          </a:r>
          <a:endParaRPr lang="nb-NO" sz="1600" kern="1200">
            <a:solidFill>
              <a:schemeClr val="bg1">
                <a:lumMod val="75000"/>
              </a:schemeClr>
            </a:solidFill>
          </a:endParaRPr>
        </a:p>
      </dsp:txBody>
      <dsp:txXfrm>
        <a:off x="6106633" y="327040"/>
        <a:ext cx="752020" cy="309884"/>
      </dsp:txXfrm>
    </dsp:sp>
    <dsp:sp modelId="{A10BF886-FB56-4505-A18A-A6E570242149}">
      <dsp:nvSpPr>
        <dsp:cNvPr id="0" name=""/>
        <dsp:cNvSpPr/>
      </dsp:nvSpPr>
      <dsp:spPr>
        <a:xfrm>
          <a:off x="6801214" y="327040"/>
          <a:ext cx="1061904" cy="309884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bg1">
                  <a:lumMod val="75000"/>
                </a:schemeClr>
              </a:solidFill>
            </a:rPr>
            <a:t>Sept</a:t>
          </a:r>
          <a:endParaRPr lang="nb-NO" sz="1600" kern="1200">
            <a:solidFill>
              <a:schemeClr val="bg1">
                <a:lumMod val="75000"/>
              </a:schemeClr>
            </a:solidFill>
          </a:endParaRPr>
        </a:p>
      </dsp:txBody>
      <dsp:txXfrm>
        <a:off x="6956156" y="327040"/>
        <a:ext cx="752020" cy="309884"/>
      </dsp:txXfrm>
    </dsp:sp>
    <dsp:sp modelId="{395877A3-2998-45B1-8766-D05006EF8E29}">
      <dsp:nvSpPr>
        <dsp:cNvPr id="0" name=""/>
        <dsp:cNvSpPr/>
      </dsp:nvSpPr>
      <dsp:spPr>
        <a:xfrm>
          <a:off x="7650737" y="327040"/>
          <a:ext cx="1061904" cy="309884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bg1">
                  <a:lumMod val="75000"/>
                </a:schemeClr>
              </a:solidFill>
            </a:rPr>
            <a:t>Okt</a:t>
          </a:r>
          <a:endParaRPr lang="nb-NO" sz="1600" kern="1200">
            <a:solidFill>
              <a:schemeClr val="bg1">
                <a:lumMod val="75000"/>
              </a:schemeClr>
            </a:solidFill>
          </a:endParaRPr>
        </a:p>
      </dsp:txBody>
      <dsp:txXfrm>
        <a:off x="7805679" y="327040"/>
        <a:ext cx="752020" cy="309884"/>
      </dsp:txXfrm>
    </dsp:sp>
    <dsp:sp modelId="{A379D365-20DF-4073-A1AB-BA299F9B590E}">
      <dsp:nvSpPr>
        <dsp:cNvPr id="0" name=""/>
        <dsp:cNvSpPr/>
      </dsp:nvSpPr>
      <dsp:spPr>
        <a:xfrm>
          <a:off x="8500260" y="327040"/>
          <a:ext cx="1061904" cy="309884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>
                  <a:lumMod val="75000"/>
                </a:schemeClr>
              </a:solidFill>
            </a:rPr>
            <a:t>Nov</a:t>
          </a:r>
        </a:p>
      </dsp:txBody>
      <dsp:txXfrm>
        <a:off x="8655202" y="327040"/>
        <a:ext cx="752020" cy="309884"/>
      </dsp:txXfrm>
    </dsp:sp>
    <dsp:sp modelId="{3ED65369-217E-4D49-9F64-4471C6F48357}">
      <dsp:nvSpPr>
        <dsp:cNvPr id="0" name=""/>
        <dsp:cNvSpPr/>
      </dsp:nvSpPr>
      <dsp:spPr>
        <a:xfrm>
          <a:off x="9349784" y="327040"/>
          <a:ext cx="1061904" cy="309884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>
                  <a:lumMod val="75000"/>
                </a:schemeClr>
              </a:solidFill>
            </a:rPr>
            <a:t>Des</a:t>
          </a:r>
        </a:p>
      </dsp:txBody>
      <dsp:txXfrm>
        <a:off x="9504726" y="327040"/>
        <a:ext cx="752020" cy="309884"/>
      </dsp:txXfrm>
    </dsp:sp>
    <dsp:sp modelId="{2D49D640-C7D1-4468-B187-B2874A901B0B}">
      <dsp:nvSpPr>
        <dsp:cNvPr id="0" name=""/>
        <dsp:cNvSpPr/>
      </dsp:nvSpPr>
      <dsp:spPr>
        <a:xfrm>
          <a:off x="10199307" y="327040"/>
          <a:ext cx="1061904" cy="309884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>
                  <a:lumMod val="75000"/>
                </a:schemeClr>
              </a:solidFill>
            </a:rPr>
            <a:t>Jan</a:t>
          </a:r>
        </a:p>
      </dsp:txBody>
      <dsp:txXfrm>
        <a:off x="10354249" y="327040"/>
        <a:ext cx="752020" cy="309884"/>
      </dsp:txXfrm>
    </dsp:sp>
    <dsp:sp modelId="{FF492FC4-140E-4C27-B8F3-3E7AF3B20685}">
      <dsp:nvSpPr>
        <dsp:cNvPr id="0" name=""/>
        <dsp:cNvSpPr/>
      </dsp:nvSpPr>
      <dsp:spPr>
        <a:xfrm>
          <a:off x="11048830" y="327040"/>
          <a:ext cx="1061904" cy="309884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bg1">
                  <a:lumMod val="75000"/>
                </a:schemeClr>
              </a:solidFill>
            </a:rPr>
            <a:t>Feb</a:t>
          </a:r>
          <a:endParaRPr lang="nb-NO" sz="1600" kern="1200">
            <a:solidFill>
              <a:schemeClr val="bg1">
                <a:lumMod val="75000"/>
              </a:schemeClr>
            </a:solidFill>
          </a:endParaRPr>
        </a:p>
      </dsp:txBody>
      <dsp:txXfrm>
        <a:off x="11203772" y="327040"/>
        <a:ext cx="752020" cy="309884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A2016E-9240-4939-AC74-35F63662D3AC}">
      <dsp:nvSpPr>
        <dsp:cNvPr id="0" name=""/>
        <dsp:cNvSpPr/>
      </dsp:nvSpPr>
      <dsp:spPr>
        <a:xfrm>
          <a:off x="6391" y="68052"/>
          <a:ext cx="1185939" cy="346080"/>
        </a:xfrm>
        <a:prstGeom prst="homePlate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/>
              </a:solidFill>
            </a:rPr>
            <a:t>Jan</a:t>
          </a:r>
        </a:p>
      </dsp:txBody>
      <dsp:txXfrm>
        <a:off x="6391" y="68052"/>
        <a:ext cx="1099419" cy="346080"/>
      </dsp:txXfrm>
    </dsp:sp>
    <dsp:sp modelId="{8B79A64D-9D22-4A79-A270-B7ADD22155D2}">
      <dsp:nvSpPr>
        <dsp:cNvPr id="0" name=""/>
        <dsp:cNvSpPr/>
      </dsp:nvSpPr>
      <dsp:spPr>
        <a:xfrm>
          <a:off x="955142" y="68052"/>
          <a:ext cx="1185939" cy="346080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bg1"/>
              </a:solidFill>
            </a:rPr>
            <a:t>Feb</a:t>
          </a:r>
          <a:endParaRPr lang="nb-NO" sz="1600" kern="1200">
            <a:solidFill>
              <a:schemeClr val="bg1"/>
            </a:solidFill>
          </a:endParaRPr>
        </a:p>
      </dsp:txBody>
      <dsp:txXfrm>
        <a:off x="1128182" y="68052"/>
        <a:ext cx="839859" cy="346080"/>
      </dsp:txXfrm>
    </dsp:sp>
    <dsp:sp modelId="{094020EB-3143-4343-84FC-A8D8663415FA}">
      <dsp:nvSpPr>
        <dsp:cNvPr id="0" name=""/>
        <dsp:cNvSpPr/>
      </dsp:nvSpPr>
      <dsp:spPr>
        <a:xfrm>
          <a:off x="1903893" y="68052"/>
          <a:ext cx="1185939" cy="346080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/>
              </a:solidFill>
            </a:rPr>
            <a:t>Mars</a:t>
          </a:r>
        </a:p>
      </dsp:txBody>
      <dsp:txXfrm>
        <a:off x="2076933" y="68052"/>
        <a:ext cx="839859" cy="346080"/>
      </dsp:txXfrm>
    </dsp:sp>
    <dsp:sp modelId="{ECD0462F-FC86-43EC-9EE1-F98A4E3685E5}">
      <dsp:nvSpPr>
        <dsp:cNvPr id="0" name=""/>
        <dsp:cNvSpPr/>
      </dsp:nvSpPr>
      <dsp:spPr>
        <a:xfrm>
          <a:off x="2852644" y="68052"/>
          <a:ext cx="1185939" cy="346080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/>
              </a:solidFill>
            </a:rPr>
            <a:t>April</a:t>
          </a:r>
        </a:p>
      </dsp:txBody>
      <dsp:txXfrm>
        <a:off x="3025684" y="68052"/>
        <a:ext cx="839859" cy="346080"/>
      </dsp:txXfrm>
    </dsp:sp>
    <dsp:sp modelId="{D851844B-5F9B-474F-BF45-9F1571037C6B}">
      <dsp:nvSpPr>
        <dsp:cNvPr id="0" name=""/>
        <dsp:cNvSpPr/>
      </dsp:nvSpPr>
      <dsp:spPr>
        <a:xfrm>
          <a:off x="3801396" y="68052"/>
          <a:ext cx="1185939" cy="346080"/>
        </a:xfrm>
        <a:prstGeom prst="chevron">
          <a:avLst/>
        </a:prstGeom>
        <a:solidFill>
          <a:schemeClr val="accent1">
            <a:shade val="50000"/>
            <a:hueOff val="50871"/>
            <a:satOff val="21555"/>
            <a:lumOff val="2068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Mai</a:t>
          </a:r>
        </a:p>
      </dsp:txBody>
      <dsp:txXfrm>
        <a:off x="3974436" y="68052"/>
        <a:ext cx="839859" cy="346080"/>
      </dsp:txXfrm>
    </dsp:sp>
    <dsp:sp modelId="{21EE003F-A6AE-47D0-8F30-7E500E2B43C5}">
      <dsp:nvSpPr>
        <dsp:cNvPr id="0" name=""/>
        <dsp:cNvSpPr/>
      </dsp:nvSpPr>
      <dsp:spPr>
        <a:xfrm>
          <a:off x="4750147" y="68052"/>
          <a:ext cx="1185939" cy="346080"/>
        </a:xfrm>
        <a:prstGeom prst="chevron">
          <a:avLst/>
        </a:prstGeom>
        <a:solidFill>
          <a:schemeClr val="accent1">
            <a:shade val="50000"/>
            <a:hueOff val="63589"/>
            <a:satOff val="26944"/>
            <a:lumOff val="2585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Jun</a:t>
          </a:r>
          <a:endParaRPr lang="nb-NO" sz="1600" kern="1200">
            <a:solidFill>
              <a:schemeClr val="tx1"/>
            </a:solidFill>
          </a:endParaRPr>
        </a:p>
      </dsp:txBody>
      <dsp:txXfrm>
        <a:off x="4923187" y="68052"/>
        <a:ext cx="839859" cy="346080"/>
      </dsp:txXfrm>
    </dsp:sp>
    <dsp:sp modelId="{6B98CBCD-E89E-4180-8377-1128BB900E75}">
      <dsp:nvSpPr>
        <dsp:cNvPr id="0" name=""/>
        <dsp:cNvSpPr/>
      </dsp:nvSpPr>
      <dsp:spPr>
        <a:xfrm>
          <a:off x="5698898" y="68052"/>
          <a:ext cx="1185939" cy="346080"/>
        </a:xfrm>
        <a:prstGeom prst="chevron">
          <a:avLst/>
        </a:prstGeom>
        <a:solidFill>
          <a:schemeClr val="accent1">
            <a:shade val="50000"/>
            <a:hueOff val="76306"/>
            <a:satOff val="32333"/>
            <a:lumOff val="3102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Jul</a:t>
          </a:r>
        </a:p>
      </dsp:txBody>
      <dsp:txXfrm>
        <a:off x="5871938" y="68052"/>
        <a:ext cx="839859" cy="346080"/>
      </dsp:txXfrm>
    </dsp:sp>
    <dsp:sp modelId="{AF814335-286D-4A63-9B4D-2D3466461DDB}">
      <dsp:nvSpPr>
        <dsp:cNvPr id="0" name=""/>
        <dsp:cNvSpPr/>
      </dsp:nvSpPr>
      <dsp:spPr>
        <a:xfrm>
          <a:off x="6647649" y="68052"/>
          <a:ext cx="1185939" cy="346080"/>
        </a:xfrm>
        <a:prstGeom prst="chevron">
          <a:avLst/>
        </a:prstGeom>
        <a:solidFill>
          <a:schemeClr val="accent1">
            <a:shade val="50000"/>
            <a:hueOff val="63589"/>
            <a:satOff val="26944"/>
            <a:lumOff val="2585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Aug</a:t>
          </a:r>
          <a:endParaRPr lang="nb-NO" sz="1600" kern="1200">
            <a:solidFill>
              <a:schemeClr val="tx1"/>
            </a:solidFill>
          </a:endParaRPr>
        </a:p>
      </dsp:txBody>
      <dsp:txXfrm>
        <a:off x="6820689" y="68052"/>
        <a:ext cx="839859" cy="346080"/>
      </dsp:txXfrm>
    </dsp:sp>
    <dsp:sp modelId="{A10BF886-FB56-4505-A18A-A6E570242149}">
      <dsp:nvSpPr>
        <dsp:cNvPr id="0" name=""/>
        <dsp:cNvSpPr/>
      </dsp:nvSpPr>
      <dsp:spPr>
        <a:xfrm>
          <a:off x="7596401" y="68052"/>
          <a:ext cx="1185939" cy="346080"/>
        </a:xfrm>
        <a:prstGeom prst="chevron">
          <a:avLst/>
        </a:prstGeom>
        <a:solidFill>
          <a:schemeClr val="accent1">
            <a:shade val="50000"/>
            <a:hueOff val="50871"/>
            <a:satOff val="21555"/>
            <a:lumOff val="2068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Sept</a:t>
          </a:r>
          <a:endParaRPr lang="nb-NO" sz="1600" kern="1200">
            <a:solidFill>
              <a:schemeClr val="tx1"/>
            </a:solidFill>
          </a:endParaRPr>
        </a:p>
      </dsp:txBody>
      <dsp:txXfrm>
        <a:off x="7769441" y="68052"/>
        <a:ext cx="839859" cy="346080"/>
      </dsp:txXfrm>
    </dsp:sp>
    <dsp:sp modelId="{395877A3-2998-45B1-8766-D05006EF8E29}">
      <dsp:nvSpPr>
        <dsp:cNvPr id="0" name=""/>
        <dsp:cNvSpPr/>
      </dsp:nvSpPr>
      <dsp:spPr>
        <a:xfrm>
          <a:off x="8545152" y="68052"/>
          <a:ext cx="1185939" cy="346080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bg1"/>
              </a:solidFill>
            </a:rPr>
            <a:t>Okt</a:t>
          </a:r>
          <a:endParaRPr lang="nb-NO" sz="1600" kern="1200">
            <a:solidFill>
              <a:schemeClr val="bg1"/>
            </a:solidFill>
          </a:endParaRPr>
        </a:p>
      </dsp:txBody>
      <dsp:txXfrm>
        <a:off x="8718192" y="68052"/>
        <a:ext cx="839859" cy="346080"/>
      </dsp:txXfrm>
    </dsp:sp>
    <dsp:sp modelId="{A379D365-20DF-4073-A1AB-BA299F9B590E}">
      <dsp:nvSpPr>
        <dsp:cNvPr id="0" name=""/>
        <dsp:cNvSpPr/>
      </dsp:nvSpPr>
      <dsp:spPr>
        <a:xfrm>
          <a:off x="9493903" y="68052"/>
          <a:ext cx="1185939" cy="346080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/>
              </a:solidFill>
            </a:rPr>
            <a:t>Nov</a:t>
          </a:r>
        </a:p>
      </dsp:txBody>
      <dsp:txXfrm>
        <a:off x="9666943" y="68052"/>
        <a:ext cx="839859" cy="346080"/>
      </dsp:txXfrm>
    </dsp:sp>
    <dsp:sp modelId="{3ED65369-217E-4D49-9F64-4471C6F48357}">
      <dsp:nvSpPr>
        <dsp:cNvPr id="0" name=""/>
        <dsp:cNvSpPr/>
      </dsp:nvSpPr>
      <dsp:spPr>
        <a:xfrm>
          <a:off x="10442654" y="68052"/>
          <a:ext cx="1185939" cy="346080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/>
              </a:solidFill>
            </a:rPr>
            <a:t>Des</a:t>
          </a:r>
        </a:p>
      </dsp:txBody>
      <dsp:txXfrm>
        <a:off x="10615694" y="68052"/>
        <a:ext cx="839859" cy="34608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A2016E-9240-4939-AC74-35F63662D3AC}">
      <dsp:nvSpPr>
        <dsp:cNvPr id="0" name=""/>
        <dsp:cNvSpPr/>
      </dsp:nvSpPr>
      <dsp:spPr>
        <a:xfrm>
          <a:off x="5028" y="2554391"/>
          <a:ext cx="1061904" cy="309884"/>
        </a:xfrm>
        <a:prstGeom prst="homePlate">
          <a:avLst/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Jan</a:t>
          </a:r>
        </a:p>
      </dsp:txBody>
      <dsp:txXfrm>
        <a:off x="5028" y="2554391"/>
        <a:ext cx="984433" cy="309884"/>
      </dsp:txXfrm>
    </dsp:sp>
    <dsp:sp modelId="{8B79A64D-9D22-4A79-A270-B7ADD22155D2}">
      <dsp:nvSpPr>
        <dsp:cNvPr id="0" name=""/>
        <dsp:cNvSpPr/>
      </dsp:nvSpPr>
      <dsp:spPr>
        <a:xfrm>
          <a:off x="854551" y="2554391"/>
          <a:ext cx="1061904" cy="309884"/>
        </a:xfrm>
        <a:prstGeom prst="chevron">
          <a:avLst/>
        </a:prstGeom>
        <a:solidFill>
          <a:schemeClr val="accent1">
            <a:shade val="50000"/>
            <a:hueOff val="10901"/>
            <a:satOff val="4619"/>
            <a:lumOff val="443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Feb</a:t>
          </a:r>
          <a:endParaRPr lang="nb-NO" sz="1600" kern="1200">
            <a:solidFill>
              <a:schemeClr val="tx1"/>
            </a:solidFill>
          </a:endParaRPr>
        </a:p>
      </dsp:txBody>
      <dsp:txXfrm>
        <a:off x="1009493" y="2554391"/>
        <a:ext cx="752020" cy="309884"/>
      </dsp:txXfrm>
    </dsp:sp>
    <dsp:sp modelId="{094020EB-3143-4343-84FC-A8D8663415FA}">
      <dsp:nvSpPr>
        <dsp:cNvPr id="0" name=""/>
        <dsp:cNvSpPr/>
      </dsp:nvSpPr>
      <dsp:spPr>
        <a:xfrm>
          <a:off x="1704074" y="2554391"/>
          <a:ext cx="1061904" cy="309884"/>
        </a:xfrm>
        <a:prstGeom prst="chevron">
          <a:avLst/>
        </a:prstGeom>
        <a:solidFill>
          <a:schemeClr val="accent1">
            <a:shade val="50000"/>
            <a:hueOff val="21802"/>
            <a:satOff val="9238"/>
            <a:lumOff val="886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Mars</a:t>
          </a:r>
        </a:p>
      </dsp:txBody>
      <dsp:txXfrm>
        <a:off x="1859016" y="2554391"/>
        <a:ext cx="752020" cy="309884"/>
      </dsp:txXfrm>
    </dsp:sp>
    <dsp:sp modelId="{ECD0462F-FC86-43EC-9EE1-F98A4E3685E5}">
      <dsp:nvSpPr>
        <dsp:cNvPr id="0" name=""/>
        <dsp:cNvSpPr/>
      </dsp:nvSpPr>
      <dsp:spPr>
        <a:xfrm>
          <a:off x="2553598" y="2554391"/>
          <a:ext cx="1061904" cy="309884"/>
        </a:xfrm>
        <a:prstGeom prst="chevron">
          <a:avLst/>
        </a:prstGeom>
        <a:solidFill>
          <a:schemeClr val="accent1">
            <a:shade val="50000"/>
            <a:hueOff val="32703"/>
            <a:satOff val="13857"/>
            <a:lumOff val="1329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April</a:t>
          </a:r>
        </a:p>
      </dsp:txBody>
      <dsp:txXfrm>
        <a:off x="2708540" y="2554391"/>
        <a:ext cx="752020" cy="309884"/>
      </dsp:txXfrm>
    </dsp:sp>
    <dsp:sp modelId="{D851844B-5F9B-474F-BF45-9F1571037C6B}">
      <dsp:nvSpPr>
        <dsp:cNvPr id="0" name=""/>
        <dsp:cNvSpPr/>
      </dsp:nvSpPr>
      <dsp:spPr>
        <a:xfrm>
          <a:off x="3403121" y="2554391"/>
          <a:ext cx="1061904" cy="309884"/>
        </a:xfrm>
        <a:prstGeom prst="chevron">
          <a:avLst/>
        </a:prstGeom>
        <a:solidFill>
          <a:schemeClr val="accent1">
            <a:shade val="50000"/>
            <a:hueOff val="43604"/>
            <a:satOff val="18476"/>
            <a:lumOff val="1772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Mai</a:t>
          </a:r>
        </a:p>
      </dsp:txBody>
      <dsp:txXfrm>
        <a:off x="3558063" y="2554391"/>
        <a:ext cx="752020" cy="309884"/>
      </dsp:txXfrm>
    </dsp:sp>
    <dsp:sp modelId="{21EE003F-A6AE-47D0-8F30-7E500E2B43C5}">
      <dsp:nvSpPr>
        <dsp:cNvPr id="0" name=""/>
        <dsp:cNvSpPr/>
      </dsp:nvSpPr>
      <dsp:spPr>
        <a:xfrm>
          <a:off x="4252644" y="2554391"/>
          <a:ext cx="1061904" cy="309884"/>
        </a:xfrm>
        <a:prstGeom prst="chevron">
          <a:avLst/>
        </a:prstGeom>
        <a:solidFill>
          <a:schemeClr val="accent1">
            <a:shade val="50000"/>
            <a:hueOff val="54505"/>
            <a:satOff val="23095"/>
            <a:lumOff val="2215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Jun</a:t>
          </a:r>
          <a:endParaRPr lang="nb-NO" sz="1600" kern="1200">
            <a:solidFill>
              <a:schemeClr val="tx1"/>
            </a:solidFill>
          </a:endParaRPr>
        </a:p>
      </dsp:txBody>
      <dsp:txXfrm>
        <a:off x="4407586" y="2554391"/>
        <a:ext cx="752020" cy="309884"/>
      </dsp:txXfrm>
    </dsp:sp>
    <dsp:sp modelId="{6B98CBCD-E89E-4180-8377-1128BB900E75}">
      <dsp:nvSpPr>
        <dsp:cNvPr id="0" name=""/>
        <dsp:cNvSpPr/>
      </dsp:nvSpPr>
      <dsp:spPr>
        <a:xfrm>
          <a:off x="5102167" y="2554391"/>
          <a:ext cx="1061904" cy="309884"/>
        </a:xfrm>
        <a:prstGeom prst="chevron">
          <a:avLst/>
        </a:prstGeom>
        <a:solidFill>
          <a:schemeClr val="accent1">
            <a:shade val="50000"/>
            <a:hueOff val="65406"/>
            <a:satOff val="27714"/>
            <a:lumOff val="265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Jul</a:t>
          </a:r>
        </a:p>
      </dsp:txBody>
      <dsp:txXfrm>
        <a:off x="5257109" y="2554391"/>
        <a:ext cx="752020" cy="309884"/>
      </dsp:txXfrm>
    </dsp:sp>
    <dsp:sp modelId="{AF814335-286D-4A63-9B4D-2D3466461DDB}">
      <dsp:nvSpPr>
        <dsp:cNvPr id="0" name=""/>
        <dsp:cNvSpPr/>
      </dsp:nvSpPr>
      <dsp:spPr>
        <a:xfrm>
          <a:off x="5951691" y="2554391"/>
          <a:ext cx="1061904" cy="309884"/>
        </a:xfrm>
        <a:prstGeom prst="chevron">
          <a:avLst/>
        </a:prstGeom>
        <a:solidFill>
          <a:schemeClr val="accent1">
            <a:shade val="50000"/>
            <a:hueOff val="76306"/>
            <a:satOff val="32333"/>
            <a:lumOff val="3102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Aug</a:t>
          </a:r>
          <a:endParaRPr lang="nb-NO" sz="1600" kern="1200">
            <a:solidFill>
              <a:schemeClr val="tx1"/>
            </a:solidFill>
          </a:endParaRPr>
        </a:p>
      </dsp:txBody>
      <dsp:txXfrm>
        <a:off x="6106633" y="2554391"/>
        <a:ext cx="752020" cy="309884"/>
      </dsp:txXfrm>
    </dsp:sp>
    <dsp:sp modelId="{A10BF886-FB56-4505-A18A-A6E570242149}">
      <dsp:nvSpPr>
        <dsp:cNvPr id="0" name=""/>
        <dsp:cNvSpPr/>
      </dsp:nvSpPr>
      <dsp:spPr>
        <a:xfrm>
          <a:off x="6801214" y="2554391"/>
          <a:ext cx="1061904" cy="309884"/>
        </a:xfrm>
        <a:prstGeom prst="chevron">
          <a:avLst/>
        </a:prstGeom>
        <a:solidFill>
          <a:schemeClr val="accent1">
            <a:shade val="50000"/>
            <a:hueOff val="65406"/>
            <a:satOff val="27714"/>
            <a:lumOff val="265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Sept</a:t>
          </a:r>
          <a:endParaRPr lang="nb-NO" sz="1600" kern="1200">
            <a:solidFill>
              <a:schemeClr val="tx1"/>
            </a:solidFill>
          </a:endParaRPr>
        </a:p>
      </dsp:txBody>
      <dsp:txXfrm>
        <a:off x="6956156" y="2554391"/>
        <a:ext cx="752020" cy="309884"/>
      </dsp:txXfrm>
    </dsp:sp>
    <dsp:sp modelId="{395877A3-2998-45B1-8766-D05006EF8E29}">
      <dsp:nvSpPr>
        <dsp:cNvPr id="0" name=""/>
        <dsp:cNvSpPr/>
      </dsp:nvSpPr>
      <dsp:spPr>
        <a:xfrm>
          <a:off x="7650737" y="2554391"/>
          <a:ext cx="1061904" cy="309884"/>
        </a:xfrm>
        <a:prstGeom prst="chevron">
          <a:avLst/>
        </a:prstGeom>
        <a:solidFill>
          <a:schemeClr val="accent1">
            <a:shade val="50000"/>
            <a:hueOff val="54505"/>
            <a:satOff val="23095"/>
            <a:lumOff val="2215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Okt</a:t>
          </a:r>
          <a:endParaRPr lang="nb-NO" sz="1600" kern="1200">
            <a:solidFill>
              <a:schemeClr val="tx1"/>
            </a:solidFill>
          </a:endParaRPr>
        </a:p>
      </dsp:txBody>
      <dsp:txXfrm>
        <a:off x="7805679" y="2554391"/>
        <a:ext cx="752020" cy="309884"/>
      </dsp:txXfrm>
    </dsp:sp>
    <dsp:sp modelId="{A379D365-20DF-4073-A1AB-BA299F9B590E}">
      <dsp:nvSpPr>
        <dsp:cNvPr id="0" name=""/>
        <dsp:cNvSpPr/>
      </dsp:nvSpPr>
      <dsp:spPr>
        <a:xfrm>
          <a:off x="8500260" y="2554391"/>
          <a:ext cx="1061904" cy="309884"/>
        </a:xfrm>
        <a:prstGeom prst="chevron">
          <a:avLst/>
        </a:prstGeom>
        <a:solidFill>
          <a:schemeClr val="accent1">
            <a:shade val="50000"/>
            <a:hueOff val="43604"/>
            <a:satOff val="18476"/>
            <a:lumOff val="1772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Nov</a:t>
          </a:r>
        </a:p>
      </dsp:txBody>
      <dsp:txXfrm>
        <a:off x="8655202" y="2554391"/>
        <a:ext cx="752020" cy="309884"/>
      </dsp:txXfrm>
    </dsp:sp>
    <dsp:sp modelId="{3ED65369-217E-4D49-9F64-4471C6F48357}">
      <dsp:nvSpPr>
        <dsp:cNvPr id="0" name=""/>
        <dsp:cNvSpPr/>
      </dsp:nvSpPr>
      <dsp:spPr>
        <a:xfrm>
          <a:off x="9349784" y="2554391"/>
          <a:ext cx="1061904" cy="309884"/>
        </a:xfrm>
        <a:prstGeom prst="chevron">
          <a:avLst/>
        </a:prstGeom>
        <a:solidFill>
          <a:schemeClr val="accent1">
            <a:shade val="50000"/>
            <a:hueOff val="32703"/>
            <a:satOff val="13857"/>
            <a:lumOff val="1329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Des</a:t>
          </a:r>
        </a:p>
      </dsp:txBody>
      <dsp:txXfrm>
        <a:off x="9504726" y="2554391"/>
        <a:ext cx="752020" cy="309884"/>
      </dsp:txXfrm>
    </dsp:sp>
    <dsp:sp modelId="{2D49D640-C7D1-4468-B187-B2874A901B0B}">
      <dsp:nvSpPr>
        <dsp:cNvPr id="0" name=""/>
        <dsp:cNvSpPr/>
      </dsp:nvSpPr>
      <dsp:spPr>
        <a:xfrm>
          <a:off x="10199307" y="2554391"/>
          <a:ext cx="1061904" cy="309884"/>
        </a:xfrm>
        <a:prstGeom prst="chevron">
          <a:avLst/>
        </a:prstGeom>
        <a:solidFill>
          <a:schemeClr val="accent1">
            <a:shade val="50000"/>
            <a:hueOff val="21802"/>
            <a:satOff val="9238"/>
            <a:lumOff val="886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Jan</a:t>
          </a:r>
        </a:p>
      </dsp:txBody>
      <dsp:txXfrm>
        <a:off x="10354249" y="2554391"/>
        <a:ext cx="752020" cy="309884"/>
      </dsp:txXfrm>
    </dsp:sp>
    <dsp:sp modelId="{FF492FC4-140E-4C27-B8F3-3E7AF3B20685}">
      <dsp:nvSpPr>
        <dsp:cNvPr id="0" name=""/>
        <dsp:cNvSpPr/>
      </dsp:nvSpPr>
      <dsp:spPr>
        <a:xfrm>
          <a:off x="11048830" y="2554391"/>
          <a:ext cx="1061904" cy="309884"/>
        </a:xfrm>
        <a:prstGeom prst="chevron">
          <a:avLst/>
        </a:prstGeom>
        <a:solidFill>
          <a:schemeClr val="accent1">
            <a:shade val="50000"/>
            <a:hueOff val="10901"/>
            <a:satOff val="4619"/>
            <a:lumOff val="443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Feb</a:t>
          </a:r>
          <a:endParaRPr lang="nb-NO" sz="1600" kern="1200">
            <a:solidFill>
              <a:schemeClr val="tx1"/>
            </a:solidFill>
          </a:endParaRPr>
        </a:p>
      </dsp:txBody>
      <dsp:txXfrm>
        <a:off x="11203772" y="2554391"/>
        <a:ext cx="752020" cy="30988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A2016E-9240-4939-AC74-35F63662D3AC}">
      <dsp:nvSpPr>
        <dsp:cNvPr id="0" name=""/>
        <dsp:cNvSpPr/>
      </dsp:nvSpPr>
      <dsp:spPr>
        <a:xfrm>
          <a:off x="5028" y="2554391"/>
          <a:ext cx="1061904" cy="309884"/>
        </a:xfrm>
        <a:prstGeom prst="homePlate">
          <a:avLst/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Jan</a:t>
          </a:r>
        </a:p>
      </dsp:txBody>
      <dsp:txXfrm>
        <a:off x="5028" y="2554391"/>
        <a:ext cx="984433" cy="309884"/>
      </dsp:txXfrm>
    </dsp:sp>
    <dsp:sp modelId="{8B79A64D-9D22-4A79-A270-B7ADD22155D2}">
      <dsp:nvSpPr>
        <dsp:cNvPr id="0" name=""/>
        <dsp:cNvSpPr/>
      </dsp:nvSpPr>
      <dsp:spPr>
        <a:xfrm>
          <a:off x="854551" y="2554391"/>
          <a:ext cx="1061904" cy="309884"/>
        </a:xfrm>
        <a:prstGeom prst="chevron">
          <a:avLst/>
        </a:prstGeom>
        <a:solidFill>
          <a:schemeClr val="accent1">
            <a:shade val="50000"/>
            <a:hueOff val="10901"/>
            <a:satOff val="4619"/>
            <a:lumOff val="443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Feb</a:t>
          </a:r>
          <a:endParaRPr lang="nb-NO" sz="1600" kern="1200">
            <a:solidFill>
              <a:schemeClr val="tx1"/>
            </a:solidFill>
          </a:endParaRPr>
        </a:p>
      </dsp:txBody>
      <dsp:txXfrm>
        <a:off x="1009493" y="2554391"/>
        <a:ext cx="752020" cy="309884"/>
      </dsp:txXfrm>
    </dsp:sp>
    <dsp:sp modelId="{094020EB-3143-4343-84FC-A8D8663415FA}">
      <dsp:nvSpPr>
        <dsp:cNvPr id="0" name=""/>
        <dsp:cNvSpPr/>
      </dsp:nvSpPr>
      <dsp:spPr>
        <a:xfrm>
          <a:off x="1704074" y="2554391"/>
          <a:ext cx="1061904" cy="309884"/>
        </a:xfrm>
        <a:prstGeom prst="chevron">
          <a:avLst/>
        </a:prstGeom>
        <a:solidFill>
          <a:schemeClr val="accent1">
            <a:shade val="50000"/>
            <a:hueOff val="21802"/>
            <a:satOff val="9238"/>
            <a:lumOff val="886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Mars</a:t>
          </a:r>
        </a:p>
      </dsp:txBody>
      <dsp:txXfrm>
        <a:off x="1859016" y="2554391"/>
        <a:ext cx="752020" cy="309884"/>
      </dsp:txXfrm>
    </dsp:sp>
    <dsp:sp modelId="{ECD0462F-FC86-43EC-9EE1-F98A4E3685E5}">
      <dsp:nvSpPr>
        <dsp:cNvPr id="0" name=""/>
        <dsp:cNvSpPr/>
      </dsp:nvSpPr>
      <dsp:spPr>
        <a:xfrm>
          <a:off x="2553598" y="2554391"/>
          <a:ext cx="1061904" cy="309884"/>
        </a:xfrm>
        <a:prstGeom prst="chevron">
          <a:avLst/>
        </a:prstGeom>
        <a:solidFill>
          <a:schemeClr val="accent1">
            <a:shade val="50000"/>
            <a:hueOff val="32703"/>
            <a:satOff val="13857"/>
            <a:lumOff val="1329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April</a:t>
          </a:r>
        </a:p>
      </dsp:txBody>
      <dsp:txXfrm>
        <a:off x="2708540" y="2554391"/>
        <a:ext cx="752020" cy="309884"/>
      </dsp:txXfrm>
    </dsp:sp>
    <dsp:sp modelId="{D851844B-5F9B-474F-BF45-9F1571037C6B}">
      <dsp:nvSpPr>
        <dsp:cNvPr id="0" name=""/>
        <dsp:cNvSpPr/>
      </dsp:nvSpPr>
      <dsp:spPr>
        <a:xfrm>
          <a:off x="3403121" y="2554391"/>
          <a:ext cx="1061904" cy="309884"/>
        </a:xfrm>
        <a:prstGeom prst="chevron">
          <a:avLst/>
        </a:prstGeom>
        <a:solidFill>
          <a:schemeClr val="accent1">
            <a:shade val="50000"/>
            <a:hueOff val="43604"/>
            <a:satOff val="18476"/>
            <a:lumOff val="1772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Mai</a:t>
          </a:r>
        </a:p>
      </dsp:txBody>
      <dsp:txXfrm>
        <a:off x="3558063" y="2554391"/>
        <a:ext cx="752020" cy="309884"/>
      </dsp:txXfrm>
    </dsp:sp>
    <dsp:sp modelId="{21EE003F-A6AE-47D0-8F30-7E500E2B43C5}">
      <dsp:nvSpPr>
        <dsp:cNvPr id="0" name=""/>
        <dsp:cNvSpPr/>
      </dsp:nvSpPr>
      <dsp:spPr>
        <a:xfrm>
          <a:off x="4252644" y="2554391"/>
          <a:ext cx="1061904" cy="309884"/>
        </a:xfrm>
        <a:prstGeom prst="chevron">
          <a:avLst/>
        </a:prstGeom>
        <a:solidFill>
          <a:schemeClr val="accent1">
            <a:shade val="50000"/>
            <a:hueOff val="54505"/>
            <a:satOff val="23095"/>
            <a:lumOff val="2215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Jun</a:t>
          </a:r>
          <a:endParaRPr lang="nb-NO" sz="1600" kern="1200">
            <a:solidFill>
              <a:schemeClr val="tx1"/>
            </a:solidFill>
          </a:endParaRPr>
        </a:p>
      </dsp:txBody>
      <dsp:txXfrm>
        <a:off x="4407586" y="2554391"/>
        <a:ext cx="752020" cy="309884"/>
      </dsp:txXfrm>
    </dsp:sp>
    <dsp:sp modelId="{6B98CBCD-E89E-4180-8377-1128BB900E75}">
      <dsp:nvSpPr>
        <dsp:cNvPr id="0" name=""/>
        <dsp:cNvSpPr/>
      </dsp:nvSpPr>
      <dsp:spPr>
        <a:xfrm>
          <a:off x="5102167" y="2554391"/>
          <a:ext cx="1061904" cy="309884"/>
        </a:xfrm>
        <a:prstGeom prst="chevron">
          <a:avLst/>
        </a:prstGeom>
        <a:solidFill>
          <a:schemeClr val="accent1">
            <a:shade val="50000"/>
            <a:hueOff val="65406"/>
            <a:satOff val="27714"/>
            <a:lumOff val="265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Jul</a:t>
          </a:r>
        </a:p>
      </dsp:txBody>
      <dsp:txXfrm>
        <a:off x="5257109" y="2554391"/>
        <a:ext cx="752020" cy="309884"/>
      </dsp:txXfrm>
    </dsp:sp>
    <dsp:sp modelId="{AF814335-286D-4A63-9B4D-2D3466461DDB}">
      <dsp:nvSpPr>
        <dsp:cNvPr id="0" name=""/>
        <dsp:cNvSpPr/>
      </dsp:nvSpPr>
      <dsp:spPr>
        <a:xfrm>
          <a:off x="5951691" y="2554391"/>
          <a:ext cx="1061904" cy="309884"/>
        </a:xfrm>
        <a:prstGeom prst="chevron">
          <a:avLst/>
        </a:prstGeom>
        <a:solidFill>
          <a:schemeClr val="accent1">
            <a:shade val="50000"/>
            <a:hueOff val="76306"/>
            <a:satOff val="32333"/>
            <a:lumOff val="3102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Aug</a:t>
          </a:r>
          <a:endParaRPr lang="nb-NO" sz="1600" kern="1200">
            <a:solidFill>
              <a:schemeClr val="tx1"/>
            </a:solidFill>
          </a:endParaRPr>
        </a:p>
      </dsp:txBody>
      <dsp:txXfrm>
        <a:off x="6106633" y="2554391"/>
        <a:ext cx="752020" cy="309884"/>
      </dsp:txXfrm>
    </dsp:sp>
    <dsp:sp modelId="{A10BF886-FB56-4505-A18A-A6E570242149}">
      <dsp:nvSpPr>
        <dsp:cNvPr id="0" name=""/>
        <dsp:cNvSpPr/>
      </dsp:nvSpPr>
      <dsp:spPr>
        <a:xfrm>
          <a:off x="6801214" y="2554391"/>
          <a:ext cx="1061904" cy="309884"/>
        </a:xfrm>
        <a:prstGeom prst="chevron">
          <a:avLst/>
        </a:prstGeom>
        <a:solidFill>
          <a:schemeClr val="accent1">
            <a:shade val="50000"/>
            <a:hueOff val="65406"/>
            <a:satOff val="27714"/>
            <a:lumOff val="265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Sept</a:t>
          </a:r>
          <a:endParaRPr lang="nb-NO" sz="1600" kern="1200">
            <a:solidFill>
              <a:schemeClr val="tx1"/>
            </a:solidFill>
          </a:endParaRPr>
        </a:p>
      </dsp:txBody>
      <dsp:txXfrm>
        <a:off x="6956156" y="2554391"/>
        <a:ext cx="752020" cy="309884"/>
      </dsp:txXfrm>
    </dsp:sp>
    <dsp:sp modelId="{395877A3-2998-45B1-8766-D05006EF8E29}">
      <dsp:nvSpPr>
        <dsp:cNvPr id="0" name=""/>
        <dsp:cNvSpPr/>
      </dsp:nvSpPr>
      <dsp:spPr>
        <a:xfrm>
          <a:off x="7650737" y="2554391"/>
          <a:ext cx="1061904" cy="309884"/>
        </a:xfrm>
        <a:prstGeom prst="chevron">
          <a:avLst/>
        </a:prstGeom>
        <a:solidFill>
          <a:schemeClr val="accent1">
            <a:shade val="50000"/>
            <a:hueOff val="54505"/>
            <a:satOff val="23095"/>
            <a:lumOff val="2215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Okt</a:t>
          </a:r>
          <a:endParaRPr lang="nb-NO" sz="1600" kern="1200">
            <a:solidFill>
              <a:schemeClr val="tx1"/>
            </a:solidFill>
          </a:endParaRPr>
        </a:p>
      </dsp:txBody>
      <dsp:txXfrm>
        <a:off x="7805679" y="2554391"/>
        <a:ext cx="752020" cy="309884"/>
      </dsp:txXfrm>
    </dsp:sp>
    <dsp:sp modelId="{A379D365-20DF-4073-A1AB-BA299F9B590E}">
      <dsp:nvSpPr>
        <dsp:cNvPr id="0" name=""/>
        <dsp:cNvSpPr/>
      </dsp:nvSpPr>
      <dsp:spPr>
        <a:xfrm>
          <a:off x="8500260" y="2554391"/>
          <a:ext cx="1061904" cy="309884"/>
        </a:xfrm>
        <a:prstGeom prst="chevron">
          <a:avLst/>
        </a:prstGeom>
        <a:solidFill>
          <a:schemeClr val="accent1">
            <a:shade val="50000"/>
            <a:hueOff val="43604"/>
            <a:satOff val="18476"/>
            <a:lumOff val="1772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Nov</a:t>
          </a:r>
        </a:p>
      </dsp:txBody>
      <dsp:txXfrm>
        <a:off x="8655202" y="2554391"/>
        <a:ext cx="752020" cy="309884"/>
      </dsp:txXfrm>
    </dsp:sp>
    <dsp:sp modelId="{3ED65369-217E-4D49-9F64-4471C6F48357}">
      <dsp:nvSpPr>
        <dsp:cNvPr id="0" name=""/>
        <dsp:cNvSpPr/>
      </dsp:nvSpPr>
      <dsp:spPr>
        <a:xfrm>
          <a:off x="9349784" y="2554391"/>
          <a:ext cx="1061904" cy="309884"/>
        </a:xfrm>
        <a:prstGeom prst="chevron">
          <a:avLst/>
        </a:prstGeom>
        <a:solidFill>
          <a:schemeClr val="accent1">
            <a:shade val="50000"/>
            <a:hueOff val="32703"/>
            <a:satOff val="13857"/>
            <a:lumOff val="1329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Des</a:t>
          </a:r>
        </a:p>
      </dsp:txBody>
      <dsp:txXfrm>
        <a:off x="9504726" y="2554391"/>
        <a:ext cx="752020" cy="309884"/>
      </dsp:txXfrm>
    </dsp:sp>
    <dsp:sp modelId="{2D49D640-C7D1-4468-B187-B2874A901B0B}">
      <dsp:nvSpPr>
        <dsp:cNvPr id="0" name=""/>
        <dsp:cNvSpPr/>
      </dsp:nvSpPr>
      <dsp:spPr>
        <a:xfrm>
          <a:off x="10199307" y="2554391"/>
          <a:ext cx="1061904" cy="309884"/>
        </a:xfrm>
        <a:prstGeom prst="chevron">
          <a:avLst/>
        </a:prstGeom>
        <a:solidFill>
          <a:schemeClr val="accent1">
            <a:shade val="50000"/>
            <a:hueOff val="21802"/>
            <a:satOff val="9238"/>
            <a:lumOff val="886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Jan</a:t>
          </a:r>
        </a:p>
      </dsp:txBody>
      <dsp:txXfrm>
        <a:off x="10354249" y="2554391"/>
        <a:ext cx="752020" cy="309884"/>
      </dsp:txXfrm>
    </dsp:sp>
    <dsp:sp modelId="{FF492FC4-140E-4C27-B8F3-3E7AF3B20685}">
      <dsp:nvSpPr>
        <dsp:cNvPr id="0" name=""/>
        <dsp:cNvSpPr/>
      </dsp:nvSpPr>
      <dsp:spPr>
        <a:xfrm>
          <a:off x="11048830" y="2554391"/>
          <a:ext cx="1061904" cy="309884"/>
        </a:xfrm>
        <a:prstGeom prst="chevron">
          <a:avLst/>
        </a:prstGeom>
        <a:solidFill>
          <a:schemeClr val="accent1">
            <a:shade val="50000"/>
            <a:hueOff val="10901"/>
            <a:satOff val="4619"/>
            <a:lumOff val="443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Feb</a:t>
          </a:r>
          <a:endParaRPr lang="nb-NO" sz="1600" kern="1200">
            <a:solidFill>
              <a:schemeClr val="tx1"/>
            </a:solidFill>
          </a:endParaRPr>
        </a:p>
      </dsp:txBody>
      <dsp:txXfrm>
        <a:off x="11203772" y="2554391"/>
        <a:ext cx="752020" cy="30988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0FC968-B07E-4E0B-95BC-3FCC3841A247}">
      <dsp:nvSpPr>
        <dsp:cNvPr id="0" name=""/>
        <dsp:cNvSpPr/>
      </dsp:nvSpPr>
      <dsp:spPr>
        <a:xfrm>
          <a:off x="3798" y="437675"/>
          <a:ext cx="1929203" cy="293524"/>
        </a:xfrm>
        <a:prstGeom prst="chevron">
          <a:avLst/>
        </a:prstGeom>
        <a:solidFill>
          <a:srgbClr val="92D05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700" kern="1200" noProof="0"/>
            <a:t>Planlegge integrasjoner</a:t>
          </a:r>
        </a:p>
      </dsp:txBody>
      <dsp:txXfrm>
        <a:off x="150560" y="437675"/>
        <a:ext cx="1635679" cy="293524"/>
      </dsp:txXfrm>
    </dsp:sp>
    <dsp:sp modelId="{432D3C07-0407-4281-A88F-11F2BF303211}">
      <dsp:nvSpPr>
        <dsp:cNvPr id="0" name=""/>
        <dsp:cNvSpPr/>
      </dsp:nvSpPr>
      <dsp:spPr>
        <a:xfrm>
          <a:off x="1740081" y="437675"/>
          <a:ext cx="2689907" cy="293524"/>
        </a:xfrm>
        <a:prstGeom prst="chevron">
          <a:avLst/>
        </a:prstGeom>
        <a:solidFill>
          <a:srgbClr val="92D05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700" kern="1200" noProof="0"/>
            <a:t>Remodellering DVH</a:t>
          </a:r>
        </a:p>
      </dsp:txBody>
      <dsp:txXfrm>
        <a:off x="1886843" y="437675"/>
        <a:ext cx="2396383" cy="293524"/>
      </dsp:txXfrm>
    </dsp:sp>
    <dsp:sp modelId="{94BA6246-3E8B-4551-A14B-AEA9610E13ED}">
      <dsp:nvSpPr>
        <dsp:cNvPr id="0" name=""/>
        <dsp:cNvSpPr/>
      </dsp:nvSpPr>
      <dsp:spPr>
        <a:xfrm>
          <a:off x="4237068" y="437675"/>
          <a:ext cx="2128393" cy="293524"/>
        </a:xfrm>
        <a:prstGeom prst="chevron">
          <a:avLst/>
        </a:prstGeom>
        <a:solidFill>
          <a:srgbClr val="92D05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700" kern="1200" noProof="0"/>
            <a:t>Remodellering rapporter og moduler</a:t>
          </a:r>
        </a:p>
      </dsp:txBody>
      <dsp:txXfrm>
        <a:off x="4383830" y="437675"/>
        <a:ext cx="1834869" cy="293524"/>
      </dsp:txXfrm>
    </dsp:sp>
    <dsp:sp modelId="{727D323C-9DEE-43EE-8E41-FF394CBDB9D4}">
      <dsp:nvSpPr>
        <dsp:cNvPr id="0" name=""/>
        <dsp:cNvSpPr/>
      </dsp:nvSpPr>
      <dsp:spPr>
        <a:xfrm>
          <a:off x="6172541" y="437675"/>
          <a:ext cx="2128393" cy="293524"/>
        </a:xfrm>
        <a:prstGeom prst="chevron">
          <a:avLst/>
        </a:prstGeom>
        <a:solidFill>
          <a:srgbClr val="92D05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700" kern="1200" noProof="0"/>
            <a:t>Remodellering rapporter og moduler</a:t>
          </a:r>
        </a:p>
      </dsp:txBody>
      <dsp:txXfrm>
        <a:off x="6319303" y="437675"/>
        <a:ext cx="1834869" cy="293524"/>
      </dsp:txXfrm>
    </dsp:sp>
    <dsp:sp modelId="{3A36C0A9-A881-4766-8700-50B4C00E58C9}">
      <dsp:nvSpPr>
        <dsp:cNvPr id="0" name=""/>
        <dsp:cNvSpPr/>
      </dsp:nvSpPr>
      <dsp:spPr>
        <a:xfrm>
          <a:off x="8108014" y="437675"/>
          <a:ext cx="2128393" cy="293524"/>
        </a:xfrm>
        <a:prstGeom prst="chevron">
          <a:avLst/>
        </a:prstGeom>
        <a:solidFill>
          <a:srgbClr val="92D05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700" kern="1200" noProof="0"/>
            <a:t>Tilpassing testfirma DFØ og mapping gamle plandata inn i ny modell (prosjekt)</a:t>
          </a:r>
        </a:p>
      </dsp:txBody>
      <dsp:txXfrm>
        <a:off x="8254776" y="437675"/>
        <a:ext cx="1834869" cy="293524"/>
      </dsp:txXfrm>
    </dsp:sp>
    <dsp:sp modelId="{24D5E83A-4E3D-4403-BF28-F0FEFE3C8129}">
      <dsp:nvSpPr>
        <dsp:cNvPr id="0" name=""/>
        <dsp:cNvSpPr/>
      </dsp:nvSpPr>
      <dsp:spPr>
        <a:xfrm>
          <a:off x="10043487" y="437675"/>
          <a:ext cx="2128393" cy="293524"/>
        </a:xfrm>
        <a:prstGeom prst="chevron">
          <a:avLst/>
        </a:prstGeom>
        <a:solidFill>
          <a:srgbClr val="92D050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700" kern="1200" noProof="0"/>
            <a:t>Nedetid for mapping</a:t>
          </a:r>
        </a:p>
      </dsp:txBody>
      <dsp:txXfrm>
        <a:off x="10190249" y="437675"/>
        <a:ext cx="1834869" cy="29352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0FC968-B07E-4E0B-95BC-3FCC3841A247}">
      <dsp:nvSpPr>
        <dsp:cNvPr id="0" name=""/>
        <dsp:cNvSpPr/>
      </dsp:nvSpPr>
      <dsp:spPr>
        <a:xfrm>
          <a:off x="1929" y="663893"/>
          <a:ext cx="2250394" cy="342393"/>
        </a:xfrm>
        <a:prstGeom prst="chevron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300" kern="1200"/>
            <a:t>Basiskurs BEVISST plan</a:t>
          </a:r>
        </a:p>
      </dsp:txBody>
      <dsp:txXfrm>
        <a:off x="173126" y="663893"/>
        <a:ext cx="1908001" cy="342393"/>
      </dsp:txXfrm>
    </dsp:sp>
    <dsp:sp modelId="{432D3C07-0407-4281-A88F-11F2BF303211}">
      <dsp:nvSpPr>
        <dsp:cNvPr id="0" name=""/>
        <dsp:cNvSpPr/>
      </dsp:nvSpPr>
      <dsp:spPr>
        <a:xfrm>
          <a:off x="2027284" y="663893"/>
          <a:ext cx="2250394" cy="342393"/>
        </a:xfrm>
        <a:prstGeom prst="chevron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300" kern="1200"/>
            <a:t>PBO-kurs (leveranser)</a:t>
          </a:r>
        </a:p>
      </dsp:txBody>
      <dsp:txXfrm>
        <a:off x="2198481" y="663893"/>
        <a:ext cx="1908001" cy="342393"/>
      </dsp:txXfrm>
    </dsp:sp>
    <dsp:sp modelId="{94BA6246-3E8B-4551-A14B-AEA9610E13ED}">
      <dsp:nvSpPr>
        <dsp:cNvPr id="0" name=""/>
        <dsp:cNvSpPr/>
      </dsp:nvSpPr>
      <dsp:spPr>
        <a:xfrm>
          <a:off x="4052639" y="663893"/>
          <a:ext cx="2482748" cy="342393"/>
        </a:xfrm>
        <a:prstGeom prst="chevron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300" kern="1200"/>
            <a:t>Evaluering innføring</a:t>
          </a:r>
        </a:p>
      </dsp:txBody>
      <dsp:txXfrm>
        <a:off x="4223836" y="663893"/>
        <a:ext cx="2140355" cy="34239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0FC968-B07E-4E0B-95BC-3FCC3841A247}">
      <dsp:nvSpPr>
        <dsp:cNvPr id="0" name=""/>
        <dsp:cNvSpPr/>
      </dsp:nvSpPr>
      <dsp:spPr>
        <a:xfrm>
          <a:off x="499" y="0"/>
          <a:ext cx="1962702" cy="506974"/>
        </a:xfrm>
        <a:prstGeom prst="chevron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Basiskurs BEVISST plan og BEVISST innsikt</a:t>
          </a:r>
        </a:p>
      </dsp:txBody>
      <dsp:txXfrm>
        <a:off x="253986" y="0"/>
        <a:ext cx="1455728" cy="506974"/>
      </dsp:txXfrm>
    </dsp:sp>
    <dsp:sp modelId="{432D3C07-0407-4281-A88F-11F2BF303211}">
      <dsp:nvSpPr>
        <dsp:cNvPr id="0" name=""/>
        <dsp:cNvSpPr/>
      </dsp:nvSpPr>
      <dsp:spPr>
        <a:xfrm>
          <a:off x="1553546" y="0"/>
          <a:ext cx="2810648" cy="506974"/>
        </a:xfrm>
        <a:prstGeom prst="chevron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/>
            <a:t>PBO-kurs </a:t>
          </a:r>
          <a:br>
            <a:rPr lang="nb-NO" sz="1100" kern="1200"/>
          </a:br>
          <a:r>
            <a:rPr lang="nb-NO" sz="1100" kern="1200"/>
            <a:t>(leveranser med ny </a:t>
          </a:r>
          <a:r>
            <a:rPr lang="nb-NO" sz="1100" kern="1200" err="1"/>
            <a:t>økmodell</a:t>
          </a:r>
          <a:r>
            <a:rPr lang="nb-NO" sz="1100" kern="1200"/>
            <a:t>)</a:t>
          </a:r>
        </a:p>
      </dsp:txBody>
      <dsp:txXfrm>
        <a:off x="1807033" y="0"/>
        <a:ext cx="2303674" cy="506974"/>
      </dsp:txXfrm>
    </dsp:sp>
    <dsp:sp modelId="{94BA6246-3E8B-4551-A14B-AEA9610E13ED}">
      <dsp:nvSpPr>
        <dsp:cNvPr id="0" name=""/>
        <dsp:cNvSpPr/>
      </dsp:nvSpPr>
      <dsp:spPr>
        <a:xfrm>
          <a:off x="3954539" y="0"/>
          <a:ext cx="1653084" cy="506974"/>
        </a:xfrm>
        <a:prstGeom prst="chevron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/>
            <a:t>Evaluering innføring</a:t>
          </a:r>
        </a:p>
      </dsp:txBody>
      <dsp:txXfrm>
        <a:off x="4208026" y="0"/>
        <a:ext cx="1146110" cy="50697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0FC968-B07E-4E0B-95BC-3FCC3841A247}">
      <dsp:nvSpPr>
        <dsp:cNvPr id="0" name=""/>
        <dsp:cNvSpPr/>
      </dsp:nvSpPr>
      <dsp:spPr>
        <a:xfrm>
          <a:off x="1929" y="663893"/>
          <a:ext cx="2250394" cy="342393"/>
        </a:xfrm>
        <a:prstGeom prst="chevron">
          <a:avLst/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300" kern="1200">
              <a:solidFill>
                <a:schemeClr val="tx1"/>
              </a:solidFill>
            </a:rPr>
            <a:t>Basiskurs</a:t>
          </a:r>
          <a:r>
            <a:rPr lang="nb-NO" sz="1300" kern="1200"/>
            <a:t> </a:t>
          </a:r>
          <a:r>
            <a:rPr lang="nb-NO" sz="1300" kern="1200">
              <a:solidFill>
                <a:schemeClr val="tx1"/>
              </a:solidFill>
            </a:rPr>
            <a:t>BEVISST</a:t>
          </a:r>
          <a:r>
            <a:rPr lang="nb-NO" sz="1300" kern="1200"/>
            <a:t> </a:t>
          </a:r>
          <a:r>
            <a:rPr lang="nb-NO" sz="1300" kern="1200">
              <a:solidFill>
                <a:schemeClr val="tx1"/>
              </a:solidFill>
            </a:rPr>
            <a:t>plan</a:t>
          </a:r>
        </a:p>
      </dsp:txBody>
      <dsp:txXfrm>
        <a:off x="173126" y="663893"/>
        <a:ext cx="1908001" cy="342393"/>
      </dsp:txXfrm>
    </dsp:sp>
    <dsp:sp modelId="{432D3C07-0407-4281-A88F-11F2BF303211}">
      <dsp:nvSpPr>
        <dsp:cNvPr id="0" name=""/>
        <dsp:cNvSpPr/>
      </dsp:nvSpPr>
      <dsp:spPr>
        <a:xfrm>
          <a:off x="2027284" y="663893"/>
          <a:ext cx="2250394" cy="342393"/>
        </a:xfrm>
        <a:prstGeom prst="chevron">
          <a:avLst/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300" kern="1200">
              <a:solidFill>
                <a:schemeClr val="tx1"/>
              </a:solidFill>
            </a:rPr>
            <a:t>PBO-kurs (leveranser)</a:t>
          </a:r>
        </a:p>
      </dsp:txBody>
      <dsp:txXfrm>
        <a:off x="2198481" y="663893"/>
        <a:ext cx="1908001" cy="342393"/>
      </dsp:txXfrm>
    </dsp:sp>
    <dsp:sp modelId="{94BA6246-3E8B-4551-A14B-AEA9610E13ED}">
      <dsp:nvSpPr>
        <dsp:cNvPr id="0" name=""/>
        <dsp:cNvSpPr/>
      </dsp:nvSpPr>
      <dsp:spPr>
        <a:xfrm>
          <a:off x="4052639" y="663893"/>
          <a:ext cx="2482748" cy="342393"/>
        </a:xfrm>
        <a:prstGeom prst="chevron">
          <a:avLst/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300" kern="1200">
              <a:solidFill>
                <a:schemeClr val="tx1"/>
              </a:solidFill>
            </a:rPr>
            <a:t>Evaluering innføring</a:t>
          </a:r>
        </a:p>
      </dsp:txBody>
      <dsp:txXfrm>
        <a:off x="4223836" y="663893"/>
        <a:ext cx="2140355" cy="342393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A2016E-9240-4939-AC74-35F63662D3AC}">
      <dsp:nvSpPr>
        <dsp:cNvPr id="0" name=""/>
        <dsp:cNvSpPr/>
      </dsp:nvSpPr>
      <dsp:spPr>
        <a:xfrm>
          <a:off x="5028" y="551176"/>
          <a:ext cx="1061904" cy="309884"/>
        </a:xfrm>
        <a:prstGeom prst="homePlate">
          <a:avLst/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Jan</a:t>
          </a:r>
        </a:p>
      </dsp:txBody>
      <dsp:txXfrm>
        <a:off x="5028" y="551176"/>
        <a:ext cx="984433" cy="309884"/>
      </dsp:txXfrm>
    </dsp:sp>
    <dsp:sp modelId="{8B79A64D-9D22-4A79-A270-B7ADD22155D2}">
      <dsp:nvSpPr>
        <dsp:cNvPr id="0" name=""/>
        <dsp:cNvSpPr/>
      </dsp:nvSpPr>
      <dsp:spPr>
        <a:xfrm>
          <a:off x="854551" y="551176"/>
          <a:ext cx="1061904" cy="309884"/>
        </a:xfrm>
        <a:prstGeom prst="chevron">
          <a:avLst/>
        </a:prstGeom>
        <a:solidFill>
          <a:schemeClr val="accent1">
            <a:shade val="50000"/>
            <a:hueOff val="10901"/>
            <a:satOff val="4619"/>
            <a:lumOff val="443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Feb</a:t>
          </a:r>
          <a:endParaRPr lang="nb-NO" sz="1600" kern="1200">
            <a:solidFill>
              <a:schemeClr val="tx1"/>
            </a:solidFill>
          </a:endParaRPr>
        </a:p>
      </dsp:txBody>
      <dsp:txXfrm>
        <a:off x="1009493" y="551176"/>
        <a:ext cx="752020" cy="309884"/>
      </dsp:txXfrm>
    </dsp:sp>
    <dsp:sp modelId="{094020EB-3143-4343-84FC-A8D8663415FA}">
      <dsp:nvSpPr>
        <dsp:cNvPr id="0" name=""/>
        <dsp:cNvSpPr/>
      </dsp:nvSpPr>
      <dsp:spPr>
        <a:xfrm>
          <a:off x="1704074" y="551176"/>
          <a:ext cx="1061904" cy="309884"/>
        </a:xfrm>
        <a:prstGeom prst="chevron">
          <a:avLst/>
        </a:prstGeom>
        <a:solidFill>
          <a:schemeClr val="accent1">
            <a:shade val="50000"/>
            <a:hueOff val="21802"/>
            <a:satOff val="9238"/>
            <a:lumOff val="886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Mars</a:t>
          </a:r>
        </a:p>
      </dsp:txBody>
      <dsp:txXfrm>
        <a:off x="1859016" y="551176"/>
        <a:ext cx="752020" cy="309884"/>
      </dsp:txXfrm>
    </dsp:sp>
    <dsp:sp modelId="{ECD0462F-FC86-43EC-9EE1-F98A4E3685E5}">
      <dsp:nvSpPr>
        <dsp:cNvPr id="0" name=""/>
        <dsp:cNvSpPr/>
      </dsp:nvSpPr>
      <dsp:spPr>
        <a:xfrm>
          <a:off x="2553598" y="551176"/>
          <a:ext cx="1061904" cy="309884"/>
        </a:xfrm>
        <a:prstGeom prst="chevron">
          <a:avLst/>
        </a:prstGeom>
        <a:solidFill>
          <a:schemeClr val="accent1">
            <a:shade val="50000"/>
            <a:hueOff val="32703"/>
            <a:satOff val="13857"/>
            <a:lumOff val="1329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April</a:t>
          </a:r>
        </a:p>
      </dsp:txBody>
      <dsp:txXfrm>
        <a:off x="2708540" y="551176"/>
        <a:ext cx="752020" cy="309884"/>
      </dsp:txXfrm>
    </dsp:sp>
    <dsp:sp modelId="{D851844B-5F9B-474F-BF45-9F1571037C6B}">
      <dsp:nvSpPr>
        <dsp:cNvPr id="0" name=""/>
        <dsp:cNvSpPr/>
      </dsp:nvSpPr>
      <dsp:spPr>
        <a:xfrm>
          <a:off x="3403121" y="551176"/>
          <a:ext cx="1061904" cy="309884"/>
        </a:xfrm>
        <a:prstGeom prst="chevron">
          <a:avLst/>
        </a:prstGeom>
        <a:solidFill>
          <a:schemeClr val="accent1">
            <a:shade val="50000"/>
            <a:hueOff val="43604"/>
            <a:satOff val="18476"/>
            <a:lumOff val="1772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Mai</a:t>
          </a:r>
        </a:p>
      </dsp:txBody>
      <dsp:txXfrm>
        <a:off x="3558063" y="551176"/>
        <a:ext cx="752020" cy="309884"/>
      </dsp:txXfrm>
    </dsp:sp>
    <dsp:sp modelId="{21EE003F-A6AE-47D0-8F30-7E500E2B43C5}">
      <dsp:nvSpPr>
        <dsp:cNvPr id="0" name=""/>
        <dsp:cNvSpPr/>
      </dsp:nvSpPr>
      <dsp:spPr>
        <a:xfrm>
          <a:off x="4252644" y="551176"/>
          <a:ext cx="1061904" cy="309884"/>
        </a:xfrm>
        <a:prstGeom prst="chevron">
          <a:avLst/>
        </a:prstGeom>
        <a:solidFill>
          <a:schemeClr val="accent1">
            <a:shade val="50000"/>
            <a:hueOff val="54505"/>
            <a:satOff val="23095"/>
            <a:lumOff val="2215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Jun</a:t>
          </a:r>
          <a:endParaRPr lang="nb-NO" sz="1600" kern="1200">
            <a:solidFill>
              <a:schemeClr val="tx1"/>
            </a:solidFill>
          </a:endParaRPr>
        </a:p>
      </dsp:txBody>
      <dsp:txXfrm>
        <a:off x="4407586" y="551176"/>
        <a:ext cx="752020" cy="309884"/>
      </dsp:txXfrm>
    </dsp:sp>
    <dsp:sp modelId="{6B98CBCD-E89E-4180-8377-1128BB900E75}">
      <dsp:nvSpPr>
        <dsp:cNvPr id="0" name=""/>
        <dsp:cNvSpPr/>
      </dsp:nvSpPr>
      <dsp:spPr>
        <a:xfrm>
          <a:off x="5102167" y="551176"/>
          <a:ext cx="1061904" cy="309884"/>
        </a:xfrm>
        <a:prstGeom prst="chevron">
          <a:avLst/>
        </a:prstGeom>
        <a:solidFill>
          <a:schemeClr val="accent1">
            <a:shade val="50000"/>
            <a:hueOff val="65406"/>
            <a:satOff val="27714"/>
            <a:lumOff val="265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Jul</a:t>
          </a:r>
        </a:p>
      </dsp:txBody>
      <dsp:txXfrm>
        <a:off x="5257109" y="551176"/>
        <a:ext cx="752020" cy="309884"/>
      </dsp:txXfrm>
    </dsp:sp>
    <dsp:sp modelId="{AF814335-286D-4A63-9B4D-2D3466461DDB}">
      <dsp:nvSpPr>
        <dsp:cNvPr id="0" name=""/>
        <dsp:cNvSpPr/>
      </dsp:nvSpPr>
      <dsp:spPr>
        <a:xfrm>
          <a:off x="5951691" y="551176"/>
          <a:ext cx="1061904" cy="309884"/>
        </a:xfrm>
        <a:prstGeom prst="chevron">
          <a:avLst/>
        </a:prstGeom>
        <a:solidFill>
          <a:schemeClr val="accent1">
            <a:shade val="50000"/>
            <a:hueOff val="76306"/>
            <a:satOff val="32333"/>
            <a:lumOff val="3102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Aug</a:t>
          </a:r>
          <a:endParaRPr lang="nb-NO" sz="1600" kern="1200">
            <a:solidFill>
              <a:schemeClr val="tx1"/>
            </a:solidFill>
          </a:endParaRPr>
        </a:p>
      </dsp:txBody>
      <dsp:txXfrm>
        <a:off x="6106633" y="551176"/>
        <a:ext cx="752020" cy="309884"/>
      </dsp:txXfrm>
    </dsp:sp>
    <dsp:sp modelId="{A10BF886-FB56-4505-A18A-A6E570242149}">
      <dsp:nvSpPr>
        <dsp:cNvPr id="0" name=""/>
        <dsp:cNvSpPr/>
      </dsp:nvSpPr>
      <dsp:spPr>
        <a:xfrm>
          <a:off x="6801214" y="551176"/>
          <a:ext cx="1061904" cy="309884"/>
        </a:xfrm>
        <a:prstGeom prst="chevron">
          <a:avLst/>
        </a:prstGeom>
        <a:solidFill>
          <a:schemeClr val="accent1">
            <a:shade val="50000"/>
            <a:hueOff val="65406"/>
            <a:satOff val="27714"/>
            <a:lumOff val="265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Sept</a:t>
          </a:r>
          <a:endParaRPr lang="nb-NO" sz="1600" kern="1200">
            <a:solidFill>
              <a:schemeClr val="tx1"/>
            </a:solidFill>
          </a:endParaRPr>
        </a:p>
      </dsp:txBody>
      <dsp:txXfrm>
        <a:off x="6956156" y="551176"/>
        <a:ext cx="752020" cy="309884"/>
      </dsp:txXfrm>
    </dsp:sp>
    <dsp:sp modelId="{395877A3-2998-45B1-8766-D05006EF8E29}">
      <dsp:nvSpPr>
        <dsp:cNvPr id="0" name=""/>
        <dsp:cNvSpPr/>
      </dsp:nvSpPr>
      <dsp:spPr>
        <a:xfrm>
          <a:off x="7650737" y="551176"/>
          <a:ext cx="1061904" cy="309884"/>
        </a:xfrm>
        <a:prstGeom prst="chevron">
          <a:avLst/>
        </a:prstGeom>
        <a:solidFill>
          <a:schemeClr val="accent1">
            <a:shade val="50000"/>
            <a:hueOff val="54505"/>
            <a:satOff val="23095"/>
            <a:lumOff val="2215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Okt</a:t>
          </a:r>
          <a:endParaRPr lang="nb-NO" sz="1600" kern="1200">
            <a:solidFill>
              <a:schemeClr val="tx1"/>
            </a:solidFill>
          </a:endParaRPr>
        </a:p>
      </dsp:txBody>
      <dsp:txXfrm>
        <a:off x="7805679" y="551176"/>
        <a:ext cx="752020" cy="309884"/>
      </dsp:txXfrm>
    </dsp:sp>
    <dsp:sp modelId="{A379D365-20DF-4073-A1AB-BA299F9B590E}">
      <dsp:nvSpPr>
        <dsp:cNvPr id="0" name=""/>
        <dsp:cNvSpPr/>
      </dsp:nvSpPr>
      <dsp:spPr>
        <a:xfrm>
          <a:off x="8500260" y="551176"/>
          <a:ext cx="1061904" cy="309884"/>
        </a:xfrm>
        <a:prstGeom prst="chevron">
          <a:avLst/>
        </a:prstGeom>
        <a:solidFill>
          <a:schemeClr val="accent1">
            <a:shade val="50000"/>
            <a:hueOff val="43604"/>
            <a:satOff val="18476"/>
            <a:lumOff val="1772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Nov</a:t>
          </a:r>
        </a:p>
      </dsp:txBody>
      <dsp:txXfrm>
        <a:off x="8655202" y="551176"/>
        <a:ext cx="752020" cy="309884"/>
      </dsp:txXfrm>
    </dsp:sp>
    <dsp:sp modelId="{3ED65369-217E-4D49-9F64-4471C6F48357}">
      <dsp:nvSpPr>
        <dsp:cNvPr id="0" name=""/>
        <dsp:cNvSpPr/>
      </dsp:nvSpPr>
      <dsp:spPr>
        <a:xfrm>
          <a:off x="9349784" y="551176"/>
          <a:ext cx="1061904" cy="309884"/>
        </a:xfrm>
        <a:prstGeom prst="chevron">
          <a:avLst/>
        </a:prstGeom>
        <a:solidFill>
          <a:schemeClr val="accent1">
            <a:shade val="50000"/>
            <a:hueOff val="32703"/>
            <a:satOff val="13857"/>
            <a:lumOff val="1329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Des</a:t>
          </a:r>
        </a:p>
      </dsp:txBody>
      <dsp:txXfrm>
        <a:off x="9504726" y="551176"/>
        <a:ext cx="752020" cy="309884"/>
      </dsp:txXfrm>
    </dsp:sp>
    <dsp:sp modelId="{2D49D640-C7D1-4468-B187-B2874A901B0B}">
      <dsp:nvSpPr>
        <dsp:cNvPr id="0" name=""/>
        <dsp:cNvSpPr/>
      </dsp:nvSpPr>
      <dsp:spPr>
        <a:xfrm>
          <a:off x="10199307" y="551176"/>
          <a:ext cx="1061904" cy="309884"/>
        </a:xfrm>
        <a:prstGeom prst="chevron">
          <a:avLst/>
        </a:prstGeom>
        <a:solidFill>
          <a:schemeClr val="accent1">
            <a:shade val="50000"/>
            <a:hueOff val="21802"/>
            <a:satOff val="9238"/>
            <a:lumOff val="886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Jan</a:t>
          </a:r>
        </a:p>
      </dsp:txBody>
      <dsp:txXfrm>
        <a:off x="10354249" y="551176"/>
        <a:ext cx="752020" cy="309884"/>
      </dsp:txXfrm>
    </dsp:sp>
    <dsp:sp modelId="{FF492FC4-140E-4C27-B8F3-3E7AF3B20685}">
      <dsp:nvSpPr>
        <dsp:cNvPr id="0" name=""/>
        <dsp:cNvSpPr/>
      </dsp:nvSpPr>
      <dsp:spPr>
        <a:xfrm>
          <a:off x="11048830" y="551176"/>
          <a:ext cx="1061904" cy="309884"/>
        </a:xfrm>
        <a:prstGeom prst="chevron">
          <a:avLst/>
        </a:prstGeom>
        <a:solidFill>
          <a:schemeClr val="accent1">
            <a:shade val="50000"/>
            <a:hueOff val="10901"/>
            <a:satOff val="4619"/>
            <a:lumOff val="443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Feb</a:t>
          </a:r>
          <a:endParaRPr lang="nb-NO" sz="1600" kern="1200">
            <a:solidFill>
              <a:schemeClr val="tx1"/>
            </a:solidFill>
          </a:endParaRPr>
        </a:p>
      </dsp:txBody>
      <dsp:txXfrm>
        <a:off x="11203772" y="551176"/>
        <a:ext cx="752020" cy="309884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0FC968-B07E-4E0B-95BC-3FCC3841A247}">
      <dsp:nvSpPr>
        <dsp:cNvPr id="0" name=""/>
        <dsp:cNvSpPr/>
      </dsp:nvSpPr>
      <dsp:spPr>
        <a:xfrm>
          <a:off x="499" y="0"/>
          <a:ext cx="1962702" cy="506974"/>
        </a:xfrm>
        <a:prstGeom prst="chevron">
          <a:avLst/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>
              <a:solidFill>
                <a:schemeClr val="tx1"/>
              </a:solidFill>
            </a:rPr>
            <a:t>Basiskurs BEVISST plan og BEVISST innsikt</a:t>
          </a:r>
        </a:p>
      </dsp:txBody>
      <dsp:txXfrm>
        <a:off x="253986" y="0"/>
        <a:ext cx="1455728" cy="506974"/>
      </dsp:txXfrm>
    </dsp:sp>
    <dsp:sp modelId="{432D3C07-0407-4281-A88F-11F2BF303211}">
      <dsp:nvSpPr>
        <dsp:cNvPr id="0" name=""/>
        <dsp:cNvSpPr/>
      </dsp:nvSpPr>
      <dsp:spPr>
        <a:xfrm>
          <a:off x="1553546" y="0"/>
          <a:ext cx="2810648" cy="506974"/>
        </a:xfrm>
        <a:prstGeom prst="chevron">
          <a:avLst/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>
              <a:solidFill>
                <a:schemeClr val="tx1"/>
              </a:solidFill>
            </a:rPr>
            <a:t>PBO-kurs </a:t>
          </a:r>
          <a:br>
            <a:rPr lang="nb-NO" sz="1100" kern="1200">
              <a:solidFill>
                <a:schemeClr val="tx1"/>
              </a:solidFill>
            </a:rPr>
          </a:br>
          <a:r>
            <a:rPr lang="nb-NO" sz="1100" kern="1200">
              <a:solidFill>
                <a:schemeClr val="tx1"/>
              </a:solidFill>
            </a:rPr>
            <a:t>(leveranser med ny </a:t>
          </a:r>
          <a:r>
            <a:rPr lang="nb-NO" sz="1100" kern="1200" err="1">
              <a:solidFill>
                <a:schemeClr val="tx1"/>
              </a:solidFill>
            </a:rPr>
            <a:t>økmodell</a:t>
          </a:r>
          <a:r>
            <a:rPr lang="nb-NO" sz="1100" kern="1200">
              <a:solidFill>
                <a:schemeClr val="tx1"/>
              </a:solidFill>
            </a:rPr>
            <a:t>)</a:t>
          </a:r>
        </a:p>
      </dsp:txBody>
      <dsp:txXfrm>
        <a:off x="1807033" y="0"/>
        <a:ext cx="2303674" cy="506974"/>
      </dsp:txXfrm>
    </dsp:sp>
    <dsp:sp modelId="{94BA6246-3E8B-4551-A14B-AEA9610E13ED}">
      <dsp:nvSpPr>
        <dsp:cNvPr id="0" name=""/>
        <dsp:cNvSpPr/>
      </dsp:nvSpPr>
      <dsp:spPr>
        <a:xfrm>
          <a:off x="3954539" y="0"/>
          <a:ext cx="1653084" cy="506974"/>
        </a:xfrm>
        <a:prstGeom prst="chevron">
          <a:avLst/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>
              <a:solidFill>
                <a:schemeClr val="tx1"/>
              </a:solidFill>
            </a:rPr>
            <a:t>Evaluering innføring</a:t>
          </a:r>
        </a:p>
      </dsp:txBody>
      <dsp:txXfrm>
        <a:off x="4208026" y="0"/>
        <a:ext cx="1146110" cy="50697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2/11/2021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2-05T06:12:39.275"/>
    </inkml:context>
    <inkml:brush xml:id="br0">
      <inkml:brushProperty name="width" value="0.21167" units="cm"/>
      <inkml:brushProperty name="height" value="0.21167" units="cm"/>
      <inkml:brushProperty name="color" value="#014693"/>
      <inkml:brushProperty name="ignorePressure" value="1"/>
    </inkml:brush>
  </inkml:definitions>
  <inkml:trace contextRef="#ctx0" brushRef="#br0">1 1998,'5'4,"1"-1,-2 0,0 1,2-2,0 0,-2-1,2 2,0-3,-1 0,0 1,1 0,2-1,6 3,41 4,-3-2,1-4,2-1,-2-1,29-11,83-13,18-14,46-9,763-99,-585 91,-85 14,77-13,293-80,-100-30,263-63,98 29,127-29,-504 99,480-39,1143 29,-1546 113,1868-72,-1331 50,-190 2,5 43,-890 6,1475 53,-4 56,-1177-70,-1 22,9 19,-217-32,-2 7,-5 8,-2 10,-3 8,12 17,-116-54,-2 1,1 8,-6 1,-2 4,0 3,29 39,-75-72,-1 2,-1 2,-2 1,-2 1,-2-1,0 4,-2-1,-2-1,-2 5,-2-2,-2 1,1 0,-5 1,-3 1,4 36,-8-35,-2 1,-2-1,-1-1,-2 1,-2-2,-3 2,1-1,-7 3,-4 9,-4-4,0 1,-3-2,-2-2,-34 43,-2-13,-2-3,-4-3,-2-5,-5-1,0-4,-91 49,39-34,-6-8,-1-5,-5-6,-105 26,-610 134,695-181,-1191 252,-13-77,884-156,-1080 149,-718 200,1675-292,-1749 438,1157-202,574-162,-764 267,1301-423,-1396 557,1136-430,6 16,9 15,-42 48,227-134,0 8,11 6,0 8,10 3,-61 82,155-171,2 1,4-1,2 3,0 2,2 0,-14 43,30-70,0 0,3 0,-1 0,2 0,1 2,0 0,1-3,1 2,0-1,1 1,1 1,0-1,1-2,2 2,1-2,-1 2,2-2,-1-1,4 1,-2 1,9 6,0 1,2-2,2-1,-1 1,0-3,4 0,0-3,-1 1,24 11,19 11,5-4,1-3,12 1,57 18,3-8,2-8,3-3,139 7,91-11,141-17,838-49,8-55,-814 52,2270-197,-1292 50,-8-54,-1054 165,1884-378,-1976 377,1918-358,-1749 339,1524-237,10 52,1577-70,-3653 351,781-29,-490 30,193 30,-439-25,-29-3,-27-3,6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2-04T06:22:43.678"/>
    </inkml:context>
    <inkml:brush xml:id="br0">
      <inkml:brushProperty name="width" value="0.21167" units="cm"/>
      <inkml:brushProperty name="height" value="0.21167" units="cm"/>
      <inkml:brushProperty name="color" value="#0166CB"/>
      <inkml:brushProperty name="ignorePressure" value="1"/>
    </inkml:brush>
  </inkml:definitions>
  <inkml:trace contextRef="#ctx0" brushRef="#br0">1 2454,'5'4,"-1"0,0 0,0 0,2-1,-1 0,-1-2,1 3,1-4,-2 0,1 1,0 1,2-2,6 2,37 8,-2-4,0-4,1-2,0-3,25-10,76-19,16-16,42-11,693-121,-532 111,-77 17,71-15,265-98,-91-39,239-76,90 36,115-36,-458 121,435-46,1038 34,-1402 138,1695-86,-1209 59,-172 4,5 52,-809 8,1340 64,-5 69,-1067-83,-1 23,7 26,-196-42,-2 11,-6 9,0 13,-4 8,12 22,-105-66,-2 2,-1 8,-3 2,-3 5,0 4,25 47,-66-88,-2 3,1 2,-4 1,-2 1,0 0,-1 3,-2 0,-1 0,-2 4,-2-1,-3 0,2 1,-5 1,-2 0,3 46,-7-43,-1-1,-3 1,0-2,-3 1,-1-2,-3 2,1 0,-6 2,-4 11,-4-3,1 1,-4-5,-1 0,-32 53,0-18,-2-3,-5-4,-1-5,-4-2,-1-5,-82 62,35-43,-5-11,-2-5,-4-8,-95 32,-553 165,630-222,-1082 309,-10-93,801-193,-980 181,-652 249,1521-360,-1589 537,1052-246,520-200,-693 327,1181-519,-1267 685,1031-529,5 19,9 21,-38 57,205-164,2 9,7 9,2 7,8 7,-54 99,140-211,2 2,4 1,0 1,2 4,2-1,-15 53,30-87,-2 3,3-3,0 2,1-2,1 3,0 0,1-2,1 2,0-2,1 1,1 1,0-1,1-2,1 3,1-3,1 2,-1-2,2-1,1 0,0 2,6 8,2 1,2-3,0 0,1 0,0-4,2 1,0-3,1-1,20 15,18 12,4-3,2-5,10 2,53 22,2-11,1-8,2-5,128 10,82-14,128-22,762-59,5-68,-738 63,2062-240,-1174 60,-6-67,-959 204,1712-465,-1795 464,1742-440,-1588 416,1383-292,10 65,1431-86,-3316 431,709-36,-444 39,173 34,-397-29,-28-5,-23-3,6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2-10T15:45:38.437"/>
    </inkml:context>
    <inkml:brush xml:id="br0">
      <inkml:brushProperty name="width" value="0.21167" units="cm"/>
      <inkml:brushProperty name="height" value="0.21167" units="cm"/>
      <inkml:brushProperty name="color" value="#014693"/>
      <inkml:brushProperty name="ignorePressure" value="1"/>
    </inkml:brush>
  </inkml:definitions>
  <inkml:trace contextRef="#ctx0" brushRef="#br0">1 2512,'4'5,"0"-2,-3 0,3 1,1 1,-2-3,-1-2,3 5,-1-5,-1 0,0 2,1-2,1 0,6 3,23 5,2 1,0-9,1 0,-2-3,20-9,55-19,12-20,30-7,511-128,-390 115,-57 18,50-15,196-101,-66-41,175-74,65 31,87-33,-338 124,320-49,765 38,-1035 138,1250-88,-890 61,-126 8,2 49,-594 10,986 66,-5 68,-783-86,-5 27,11 24,-148-40,-1 8,-3 12,-1 12,-3 9,9 22,-77-69,-3 5,1 6,-2 1,-3 7,0 4,19 48,-50-90,0 3,-1 3,-1 1,-3-1,3 2,-6 1,3 4,-3-4,-1 2,-1 3,-2-1,0 1,-2 4,-1-4,1 47,-5-42,-1-1,-2 1,1-1,-5-3,2 0,-1 2,-3 1,-3 1,-2 12,-4-4,0 1,-1-2,-2-5,-22 56,-1-17,-3-2,-2-7,-1-2,-2-6,-4-5,-56 65,23-45,-4-10,0-2,-3-10,-70 32,-407 167,461-228,-792 319,-9-93,588-203,-721 189,-478 252,1121-368,-1174 552,777-252,381-204,-509 330,869-526,-931 697,757-540,4 23,7 17,-28 59,150-165,3 7,3 9,3 6,5 11,-38 96,102-210,3 0,0-3,1 6,1 4,2-5,-10 56,20-87,1 1,2-3,-1 3,1-1,-1 1,2-3,1 3,0 0,0-1,0 1,1 0,2-1,-1-2,1 7,-1-8,2 3,1 0,1-4,-1 2,0 2,8 6,-3 2,4-2,-1 1,1-1,0-4,1 1,1-4,-1 1,17 12,12 13,3-1,1-6,9 2,38 22,1-12,0-5,3-8,95 11,59-15,93-19,562-65,5-67,-544 64,1516-246,-862 63,-5-72,-707 211,1261-473,-1320 469,1279-446,-1165 421,1016-293,8 64,1053-88,-2442 441,523-37,-326 39,126 38,-292-34,-19-2,-18-4,2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2/1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83705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latin typeface="Calibri"/>
                <a:cs typeface="Calibri"/>
              </a:rPr>
              <a:t>Vi </a:t>
            </a:r>
            <a:r>
              <a:rPr lang="en-US" err="1">
                <a:latin typeface="Calibri"/>
                <a:cs typeface="Calibri"/>
              </a:rPr>
              <a:t>skal</a:t>
            </a:r>
            <a:r>
              <a:rPr lang="en-US">
                <a:latin typeface="Calibri"/>
                <a:cs typeface="Calibri"/>
              </a:rPr>
              <a:t> </a:t>
            </a:r>
            <a:r>
              <a:rPr lang="en-US" err="1">
                <a:latin typeface="Calibri"/>
                <a:cs typeface="Calibri"/>
              </a:rPr>
              <a:t>bistå</a:t>
            </a:r>
            <a:r>
              <a:rPr lang="en-US">
                <a:latin typeface="Calibri"/>
                <a:cs typeface="Calibri"/>
              </a:rPr>
              <a:t> </a:t>
            </a:r>
            <a:r>
              <a:rPr lang="en-US" err="1">
                <a:latin typeface="Calibri"/>
                <a:cs typeface="Calibri"/>
              </a:rPr>
              <a:t>i</a:t>
            </a:r>
            <a:r>
              <a:rPr lang="en-US">
                <a:latin typeface="Calibri"/>
                <a:cs typeface="Calibri"/>
              </a:rPr>
              <a:t> de </a:t>
            </a:r>
            <a:r>
              <a:rPr lang="en-US" err="1">
                <a:latin typeface="Calibri"/>
                <a:cs typeface="Calibri"/>
              </a:rPr>
              <a:t>ulike</a:t>
            </a:r>
            <a:r>
              <a:rPr lang="en-US">
                <a:latin typeface="Calibri"/>
                <a:cs typeface="Calibri"/>
              </a:rPr>
              <a:t> </a:t>
            </a:r>
            <a:r>
              <a:rPr lang="en-US" err="1">
                <a:latin typeface="Calibri"/>
                <a:cs typeface="Calibri"/>
              </a:rPr>
              <a:t>endringprosessene</a:t>
            </a:r>
            <a:r>
              <a:rPr lang="en-US">
                <a:latin typeface="Calibri"/>
                <a:cs typeface="Calibri"/>
              </a:rPr>
              <a:t> med: </a:t>
            </a:r>
            <a:r>
              <a:rPr lang="en-US" err="1">
                <a:latin typeface="Calibri"/>
                <a:cs typeface="Calibri"/>
              </a:rPr>
              <a:t>Informasjonsmateriell</a:t>
            </a:r>
            <a:r>
              <a:rPr lang="en-US">
                <a:latin typeface="Calibri"/>
                <a:cs typeface="Calibri"/>
              </a:rPr>
              <a:t>, </a:t>
            </a:r>
            <a:r>
              <a:rPr lang="en-US" err="1">
                <a:latin typeface="Calibri"/>
                <a:cs typeface="Calibri"/>
              </a:rPr>
              <a:t>metodisk</a:t>
            </a:r>
            <a:r>
              <a:rPr lang="en-US">
                <a:latin typeface="Calibri"/>
                <a:cs typeface="Calibri"/>
              </a:rPr>
              <a:t> </a:t>
            </a:r>
            <a:r>
              <a:rPr lang="en-US" err="1">
                <a:latin typeface="Calibri"/>
                <a:cs typeface="Calibri"/>
              </a:rPr>
              <a:t>verktøy</a:t>
            </a:r>
            <a:r>
              <a:rPr lang="en-US">
                <a:latin typeface="Calibri"/>
                <a:cs typeface="Calibri"/>
              </a:rPr>
              <a:t>, </a:t>
            </a:r>
            <a:r>
              <a:rPr lang="en-US" err="1">
                <a:latin typeface="Calibri"/>
                <a:cs typeface="Calibri"/>
              </a:rPr>
              <a:t>regi</a:t>
            </a:r>
            <a:r>
              <a:rPr lang="en-US">
                <a:latin typeface="Calibri"/>
                <a:cs typeface="Calibri"/>
              </a:rPr>
              <a:t> av </a:t>
            </a:r>
            <a:r>
              <a:rPr lang="en-US" err="1">
                <a:latin typeface="Calibri"/>
                <a:cs typeface="Calibri"/>
              </a:rPr>
              <a:t>prosess</a:t>
            </a:r>
            <a:r>
              <a:rPr lang="en-US">
                <a:latin typeface="Calibri"/>
                <a:cs typeface="Calibri"/>
              </a:rPr>
              <a:t> </a:t>
            </a:r>
            <a:r>
              <a:rPr lang="en-US" err="1">
                <a:latin typeface="Calibri"/>
                <a:cs typeface="Calibri"/>
              </a:rPr>
              <a:t>og</a:t>
            </a:r>
            <a:r>
              <a:rPr lang="en-US">
                <a:latin typeface="Calibri"/>
                <a:cs typeface="Calibri"/>
              </a:rPr>
              <a:t> </a:t>
            </a:r>
            <a:r>
              <a:rPr lang="en-US" err="1">
                <a:latin typeface="Calibri"/>
                <a:cs typeface="Calibri"/>
              </a:rPr>
              <a:t>praktisk</a:t>
            </a:r>
            <a:r>
              <a:rPr lang="en-US">
                <a:latin typeface="Calibri"/>
                <a:cs typeface="Calibri"/>
              </a:rPr>
              <a:t> </a:t>
            </a:r>
            <a:r>
              <a:rPr lang="en-US" err="1">
                <a:latin typeface="Calibri"/>
                <a:cs typeface="Calibri"/>
              </a:rPr>
              <a:t>støtte</a:t>
            </a:r>
            <a:r>
              <a:rPr lang="en-US">
                <a:latin typeface="Calibri"/>
                <a:cs typeface="Calibri"/>
              </a:rPr>
              <a:t>.</a:t>
            </a:r>
          </a:p>
          <a:p>
            <a:r>
              <a:rPr lang="en-US">
                <a:latin typeface="Calibri"/>
                <a:cs typeface="Calibri"/>
              </a:rPr>
              <a:t>GAP-</a:t>
            </a:r>
            <a:r>
              <a:rPr lang="en-US" err="1">
                <a:latin typeface="Calibri"/>
                <a:cs typeface="Calibri"/>
              </a:rPr>
              <a:t>analysen</a:t>
            </a:r>
            <a:r>
              <a:rPr lang="en-US">
                <a:latin typeface="Calibri"/>
                <a:cs typeface="Calibri"/>
              </a:rPr>
              <a:t> </a:t>
            </a:r>
            <a:r>
              <a:rPr lang="en-US" err="1">
                <a:latin typeface="Calibri"/>
                <a:cs typeface="Calibri"/>
              </a:rPr>
              <a:t>og</a:t>
            </a:r>
            <a:r>
              <a:rPr lang="en-US">
                <a:latin typeface="Calibri"/>
                <a:cs typeface="Calibri"/>
              </a:rPr>
              <a:t> </a:t>
            </a:r>
            <a:r>
              <a:rPr lang="en-US" err="1">
                <a:latin typeface="Calibri"/>
                <a:cs typeface="Calibri"/>
              </a:rPr>
              <a:t>videre</a:t>
            </a:r>
            <a:r>
              <a:rPr lang="en-US">
                <a:latin typeface="Calibri"/>
                <a:cs typeface="Calibri"/>
              </a:rPr>
              <a:t> </a:t>
            </a:r>
            <a:r>
              <a:rPr lang="en-US" err="1">
                <a:latin typeface="Calibri"/>
                <a:cs typeface="Calibri"/>
              </a:rPr>
              <a:t>besluttninger</a:t>
            </a:r>
            <a:r>
              <a:rPr lang="en-US">
                <a:latin typeface="Calibri"/>
                <a:cs typeface="Calibri"/>
              </a:rPr>
              <a:t> </a:t>
            </a:r>
            <a:r>
              <a:rPr lang="en-US" err="1">
                <a:latin typeface="Calibri"/>
                <a:cs typeface="Calibri"/>
              </a:rPr>
              <a:t>vil</a:t>
            </a:r>
            <a:r>
              <a:rPr lang="en-US">
                <a:latin typeface="Calibri"/>
                <a:cs typeface="Calibri"/>
              </a:rPr>
              <a:t> </a:t>
            </a:r>
            <a:r>
              <a:rPr lang="en-US" err="1">
                <a:latin typeface="Calibri"/>
                <a:cs typeface="Calibri"/>
              </a:rPr>
              <a:t>gi</a:t>
            </a:r>
            <a:r>
              <a:rPr lang="en-US">
                <a:latin typeface="Calibri"/>
                <a:cs typeface="Calibri"/>
              </a:rPr>
              <a:t> </a:t>
            </a:r>
            <a:r>
              <a:rPr lang="en-US" err="1">
                <a:latin typeface="Calibri"/>
                <a:cs typeface="Calibri"/>
              </a:rPr>
              <a:t>føring</a:t>
            </a:r>
            <a:r>
              <a:rPr lang="en-US">
                <a:latin typeface="Calibri"/>
                <a:cs typeface="Calibri"/>
              </a:rPr>
              <a:t> for grad av </a:t>
            </a:r>
            <a:r>
              <a:rPr lang="en-US" err="1">
                <a:latin typeface="Calibri"/>
                <a:cs typeface="Calibri"/>
              </a:rPr>
              <a:t>endring</a:t>
            </a:r>
            <a:r>
              <a:rPr lang="en-US">
                <a:latin typeface="Calibri"/>
                <a:cs typeface="Calibri"/>
              </a:rPr>
              <a:t>.</a:t>
            </a:r>
          </a:p>
          <a:p>
            <a:endParaRPr lang="en-US">
              <a:latin typeface="Calibri"/>
              <a:cs typeface="Calibri"/>
            </a:endParaRPr>
          </a:p>
          <a:p>
            <a:r>
              <a:rPr lang="en-US">
                <a:latin typeface="Calibri"/>
                <a:cs typeface="Calibri"/>
              </a:rPr>
              <a:t>* </a:t>
            </a:r>
            <a:r>
              <a:rPr lang="en-US" err="1">
                <a:latin typeface="Calibri"/>
                <a:cs typeface="Calibri"/>
              </a:rPr>
              <a:t>Faseinndeling</a:t>
            </a:r>
            <a:r>
              <a:rPr lang="en-US">
                <a:latin typeface="Calibri"/>
                <a:cs typeface="Calibri"/>
              </a:rPr>
              <a:t> / </a:t>
            </a:r>
            <a:r>
              <a:rPr lang="en-US" err="1">
                <a:latin typeface="Calibri"/>
                <a:cs typeface="Calibri"/>
              </a:rPr>
              <a:t>interessentanalyse</a:t>
            </a:r>
            <a:endParaRPr lang="en-US">
              <a:latin typeface="Calibri"/>
              <a:cs typeface="Calibri"/>
            </a:endParaRPr>
          </a:p>
          <a:p>
            <a:r>
              <a:rPr lang="en-US">
                <a:latin typeface="Calibri"/>
                <a:cs typeface="Calibri"/>
              </a:rPr>
              <a:t>* </a:t>
            </a:r>
            <a:r>
              <a:rPr lang="en-US" err="1">
                <a:latin typeface="Calibri"/>
                <a:cs typeface="Calibri"/>
              </a:rPr>
              <a:t>Designsprint</a:t>
            </a:r>
            <a:endParaRPr lang="en-US">
              <a:latin typeface="Calibri"/>
              <a:cs typeface="Calibri"/>
            </a:endParaRPr>
          </a:p>
          <a:p>
            <a:r>
              <a:rPr lang="en-US">
                <a:latin typeface="Calibri"/>
                <a:cs typeface="Calibri"/>
              </a:rPr>
              <a:t>* </a:t>
            </a:r>
            <a:r>
              <a:rPr lang="en-US" err="1">
                <a:latin typeface="Calibri"/>
                <a:cs typeface="Calibri"/>
              </a:rPr>
              <a:t>Kommunikasjon</a:t>
            </a:r>
            <a:endParaRPr lang="en-US">
              <a:latin typeface="Calibri"/>
              <a:cs typeface="Calibri"/>
            </a:endParaRPr>
          </a:p>
          <a:p>
            <a:endParaRPr lang="en-US">
              <a:latin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4177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6896571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859293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7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535287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1651659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397785"/>
            <a:ext cx="10153843" cy="864683"/>
          </a:xfrm>
          <a:prstGeom prst="rect">
            <a:avLst/>
          </a:prstGeom>
        </p:spPr>
        <p:txBody>
          <a:bodyPr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09600" y="1361990"/>
            <a:ext cx="10972800" cy="5059257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55733" y="3073401"/>
            <a:ext cx="863600" cy="698500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55733" y="3073401"/>
            <a:ext cx="863600" cy="698500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757582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138852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8417900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F029CD80-4653-1D40-8828-D130A1CE83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2198496-915B-0544-B4C5-2520C5B26E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7EDE4B5C-3CB2-3941-8546-1481B2148F3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0E4E6626-5F8B-9E4F-A2AA-C9120194290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1D073737-7B80-A24C-AB05-449F502783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7835123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5127089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09466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76781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789415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13124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9989752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022592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662761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779299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576988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36860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480961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698758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644193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69060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8158609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764508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1253023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8"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39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564241" y="6401225"/>
            <a:ext cx="3360060" cy="27307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95088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8D8C8E8-7566-4E32-ADE8-802420D97A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6326854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2"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8D8C8E8-7566-4E32-ADE8-802420D97A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89E8D79-5605-4AA7-A8D9-0250677014A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1" y="410101"/>
            <a:ext cx="10190788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462445"/>
            <a:ext cx="10972800" cy="48776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72575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  <p:sldLayoutId id="2147483849" r:id="rId11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5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1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ustomXml" Target="../ink/ink1.xml"/><Relationship Id="rId13" Type="http://schemas.openxmlformats.org/officeDocument/2006/relationships/image" Target="../media/image22.svg"/><Relationship Id="rId18" Type="http://schemas.openxmlformats.org/officeDocument/2006/relationships/image" Target="../media/image27.png"/><Relationship Id="rId26" Type="http://schemas.openxmlformats.org/officeDocument/2006/relationships/image" Target="../media/image35.svg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30.svg"/><Relationship Id="rId7" Type="http://schemas.openxmlformats.org/officeDocument/2006/relationships/image" Target="../media/image17.svg"/><Relationship Id="rId12" Type="http://schemas.openxmlformats.org/officeDocument/2006/relationships/image" Target="../media/image21.png"/><Relationship Id="rId17" Type="http://schemas.openxmlformats.org/officeDocument/2006/relationships/image" Target="../media/image26.svg"/><Relationship Id="rId25" Type="http://schemas.openxmlformats.org/officeDocument/2006/relationships/image" Target="../media/image34.png"/><Relationship Id="rId2" Type="http://schemas.openxmlformats.org/officeDocument/2006/relationships/tags" Target="../tags/tag29.xml"/><Relationship Id="rId16" Type="http://schemas.openxmlformats.org/officeDocument/2006/relationships/image" Target="../media/image25.png"/><Relationship Id="rId20" Type="http://schemas.openxmlformats.org/officeDocument/2006/relationships/image" Target="../media/image29.png"/><Relationship Id="rId29" Type="http://schemas.openxmlformats.org/officeDocument/2006/relationships/image" Target="../media/image38.svg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6.png"/><Relationship Id="rId11" Type="http://schemas.openxmlformats.org/officeDocument/2006/relationships/image" Target="../media/image20.svg"/><Relationship Id="rId24" Type="http://schemas.openxmlformats.org/officeDocument/2006/relationships/image" Target="../media/image33.svg"/><Relationship Id="rId5" Type="http://schemas.openxmlformats.org/officeDocument/2006/relationships/image" Target="../media/image1.emf"/><Relationship Id="rId15" Type="http://schemas.openxmlformats.org/officeDocument/2006/relationships/image" Target="../media/image24.svg"/><Relationship Id="rId23" Type="http://schemas.openxmlformats.org/officeDocument/2006/relationships/image" Target="../media/image32.png"/><Relationship Id="rId28" Type="http://schemas.openxmlformats.org/officeDocument/2006/relationships/image" Target="../media/image37.svg"/><Relationship Id="rId10" Type="http://schemas.openxmlformats.org/officeDocument/2006/relationships/image" Target="../media/image19.png"/><Relationship Id="rId19" Type="http://schemas.openxmlformats.org/officeDocument/2006/relationships/image" Target="../media/image28.sv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18.png"/><Relationship Id="rId14" Type="http://schemas.openxmlformats.org/officeDocument/2006/relationships/image" Target="../media/image23.png"/><Relationship Id="rId22" Type="http://schemas.openxmlformats.org/officeDocument/2006/relationships/image" Target="../media/image31.svg"/><Relationship Id="rId27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Layout" Target="../slideLayouts/slideLayout7.xml"/><Relationship Id="rId7" Type="http://schemas.openxmlformats.org/officeDocument/2006/relationships/diagramLayout" Target="../diagrams/layout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16.bin"/><Relationship Id="rId9" Type="http://schemas.openxmlformats.org/officeDocument/2006/relationships/diagramColors" Target="../diagrams/colors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1.jpeg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11.jpeg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11.jpeg"/><Relationship Id="rId2" Type="http://schemas.openxmlformats.org/officeDocument/2006/relationships/tags" Target="../tags/tag3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slideLayout" Target="../slideLayouts/slideLayout7.xml"/><Relationship Id="rId7" Type="http://schemas.openxmlformats.org/officeDocument/2006/relationships/diagramLayout" Target="../diagrams/layout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1.vml"/><Relationship Id="rId6" Type="http://schemas.openxmlformats.org/officeDocument/2006/relationships/diagramData" Target="../diagrams/data2.xml"/><Relationship Id="rId5" Type="http://schemas.openxmlformats.org/officeDocument/2006/relationships/image" Target="../media/image1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21.bin"/><Relationship Id="rId9" Type="http://schemas.openxmlformats.org/officeDocument/2006/relationships/diagramColors" Target="../diagrams/colors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9.xml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8.sv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13" Type="http://schemas.openxmlformats.org/officeDocument/2006/relationships/diagramQuickStyle" Target="../diagrams/quickStyle4.xml"/><Relationship Id="rId18" Type="http://schemas.openxmlformats.org/officeDocument/2006/relationships/diagramQuickStyle" Target="../diagrams/quickStyle5.xml"/><Relationship Id="rId3" Type="http://schemas.openxmlformats.org/officeDocument/2006/relationships/slideLayout" Target="../slideLayouts/slideLayout7.xml"/><Relationship Id="rId21" Type="http://schemas.openxmlformats.org/officeDocument/2006/relationships/diagramData" Target="../diagrams/data6.xml"/><Relationship Id="rId7" Type="http://schemas.openxmlformats.org/officeDocument/2006/relationships/diagramLayout" Target="../diagrams/layout3.xml"/><Relationship Id="rId12" Type="http://schemas.openxmlformats.org/officeDocument/2006/relationships/diagramLayout" Target="../diagrams/layout4.xml"/><Relationship Id="rId17" Type="http://schemas.openxmlformats.org/officeDocument/2006/relationships/diagramLayout" Target="../diagrams/layout5.xml"/><Relationship Id="rId25" Type="http://schemas.microsoft.com/office/2007/relationships/diagramDrawing" Target="../diagrams/drawing6.xml"/><Relationship Id="rId2" Type="http://schemas.openxmlformats.org/officeDocument/2006/relationships/tags" Target="../tags/tag39.xml"/><Relationship Id="rId16" Type="http://schemas.openxmlformats.org/officeDocument/2006/relationships/diagramData" Target="../diagrams/data5.xml"/><Relationship Id="rId20" Type="http://schemas.microsoft.com/office/2007/relationships/diagramDrawing" Target="../diagrams/drawing5.xml"/><Relationship Id="rId1" Type="http://schemas.openxmlformats.org/officeDocument/2006/relationships/vmlDrawing" Target="../drawings/vmlDrawing22.vml"/><Relationship Id="rId6" Type="http://schemas.openxmlformats.org/officeDocument/2006/relationships/diagramData" Target="../diagrams/data3.xml"/><Relationship Id="rId11" Type="http://schemas.openxmlformats.org/officeDocument/2006/relationships/diagramData" Target="../diagrams/data4.xml"/><Relationship Id="rId24" Type="http://schemas.openxmlformats.org/officeDocument/2006/relationships/diagramColors" Target="../diagrams/colors6.xml"/><Relationship Id="rId5" Type="http://schemas.openxmlformats.org/officeDocument/2006/relationships/image" Target="../media/image1.emf"/><Relationship Id="rId15" Type="http://schemas.microsoft.com/office/2007/relationships/diagramDrawing" Target="../diagrams/drawing4.xml"/><Relationship Id="rId23" Type="http://schemas.openxmlformats.org/officeDocument/2006/relationships/diagramQuickStyle" Target="../diagrams/quickStyle6.xml"/><Relationship Id="rId10" Type="http://schemas.microsoft.com/office/2007/relationships/diagramDrawing" Target="../diagrams/drawing3.xml"/><Relationship Id="rId19" Type="http://schemas.openxmlformats.org/officeDocument/2006/relationships/diagramColors" Target="../diagrams/colors5.xml"/><Relationship Id="rId4" Type="http://schemas.openxmlformats.org/officeDocument/2006/relationships/oleObject" Target="../embeddings/oleObject22.bin"/><Relationship Id="rId9" Type="http://schemas.openxmlformats.org/officeDocument/2006/relationships/diagramColors" Target="../diagrams/colors3.xml"/><Relationship Id="rId14" Type="http://schemas.openxmlformats.org/officeDocument/2006/relationships/diagramColors" Target="../diagrams/colors4.xml"/><Relationship Id="rId22" Type="http://schemas.openxmlformats.org/officeDocument/2006/relationships/diagramLayout" Target="../diagrams/layout6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7.xml"/><Relationship Id="rId13" Type="http://schemas.openxmlformats.org/officeDocument/2006/relationships/diagramQuickStyle" Target="../diagrams/quickStyle8.xml"/><Relationship Id="rId18" Type="http://schemas.openxmlformats.org/officeDocument/2006/relationships/diagramQuickStyle" Target="../diagrams/quickStyle9.xml"/><Relationship Id="rId3" Type="http://schemas.openxmlformats.org/officeDocument/2006/relationships/slideLayout" Target="../slideLayouts/slideLayout7.xml"/><Relationship Id="rId21" Type="http://schemas.openxmlformats.org/officeDocument/2006/relationships/diagramData" Target="../diagrams/data10.xml"/><Relationship Id="rId7" Type="http://schemas.openxmlformats.org/officeDocument/2006/relationships/diagramLayout" Target="../diagrams/layout7.xml"/><Relationship Id="rId12" Type="http://schemas.openxmlformats.org/officeDocument/2006/relationships/diagramLayout" Target="../diagrams/layout8.xml"/><Relationship Id="rId17" Type="http://schemas.openxmlformats.org/officeDocument/2006/relationships/diagramLayout" Target="../diagrams/layout9.xml"/><Relationship Id="rId25" Type="http://schemas.microsoft.com/office/2007/relationships/diagramDrawing" Target="../diagrams/drawing10.xml"/><Relationship Id="rId2" Type="http://schemas.openxmlformats.org/officeDocument/2006/relationships/tags" Target="../tags/tag40.xml"/><Relationship Id="rId16" Type="http://schemas.openxmlformats.org/officeDocument/2006/relationships/diagramData" Target="../diagrams/data9.xml"/><Relationship Id="rId20" Type="http://schemas.microsoft.com/office/2007/relationships/diagramDrawing" Target="../diagrams/drawing9.xml"/><Relationship Id="rId1" Type="http://schemas.openxmlformats.org/officeDocument/2006/relationships/vmlDrawing" Target="../drawings/vmlDrawing23.vml"/><Relationship Id="rId6" Type="http://schemas.openxmlformats.org/officeDocument/2006/relationships/diagramData" Target="../diagrams/data7.xml"/><Relationship Id="rId11" Type="http://schemas.openxmlformats.org/officeDocument/2006/relationships/diagramData" Target="../diagrams/data8.xml"/><Relationship Id="rId24" Type="http://schemas.openxmlformats.org/officeDocument/2006/relationships/diagramColors" Target="../diagrams/colors10.xml"/><Relationship Id="rId5" Type="http://schemas.openxmlformats.org/officeDocument/2006/relationships/image" Target="../media/image1.emf"/><Relationship Id="rId15" Type="http://schemas.microsoft.com/office/2007/relationships/diagramDrawing" Target="../diagrams/drawing8.xml"/><Relationship Id="rId23" Type="http://schemas.openxmlformats.org/officeDocument/2006/relationships/diagramQuickStyle" Target="../diagrams/quickStyle10.xml"/><Relationship Id="rId10" Type="http://schemas.microsoft.com/office/2007/relationships/diagramDrawing" Target="../diagrams/drawing7.xml"/><Relationship Id="rId19" Type="http://schemas.openxmlformats.org/officeDocument/2006/relationships/diagramColors" Target="../diagrams/colors9.xml"/><Relationship Id="rId4" Type="http://schemas.openxmlformats.org/officeDocument/2006/relationships/oleObject" Target="../embeddings/oleObject23.bin"/><Relationship Id="rId9" Type="http://schemas.openxmlformats.org/officeDocument/2006/relationships/diagramColors" Target="../diagrams/colors7.xml"/><Relationship Id="rId14" Type="http://schemas.openxmlformats.org/officeDocument/2006/relationships/diagramColors" Target="../diagrams/colors8.xml"/><Relationship Id="rId22" Type="http://schemas.openxmlformats.org/officeDocument/2006/relationships/diagramLayout" Target="../diagrams/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1.jpeg"/><Relationship Id="rId2" Type="http://schemas.openxmlformats.org/officeDocument/2006/relationships/tags" Target="../tags/tag41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1.xml"/><Relationship Id="rId3" Type="http://schemas.openxmlformats.org/officeDocument/2006/relationships/tags" Target="../tags/tag44.xml"/><Relationship Id="rId7" Type="http://schemas.openxmlformats.org/officeDocument/2006/relationships/diagramData" Target="../diagrams/data1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11" Type="http://schemas.microsoft.com/office/2007/relationships/diagramDrawing" Target="../diagrams/drawing11.xml"/><Relationship Id="rId5" Type="http://schemas.openxmlformats.org/officeDocument/2006/relationships/oleObject" Target="../embeddings/oleObject25.bin"/><Relationship Id="rId10" Type="http://schemas.openxmlformats.org/officeDocument/2006/relationships/diagramColors" Target="../diagrams/colors11.xml"/><Relationship Id="rId4" Type="http://schemas.openxmlformats.org/officeDocument/2006/relationships/slideLayout" Target="../slideLayouts/slideLayout2.xml"/><Relationship Id="rId9" Type="http://schemas.openxmlformats.org/officeDocument/2006/relationships/diagramQuickStyle" Target="../diagrams/quickStyle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11.jpeg"/><Relationship Id="rId2" Type="http://schemas.openxmlformats.org/officeDocument/2006/relationships/tags" Target="../tags/tag45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2.xml"/><Relationship Id="rId3" Type="http://schemas.openxmlformats.org/officeDocument/2006/relationships/tags" Target="../tags/tag48.xml"/><Relationship Id="rId7" Type="http://schemas.openxmlformats.org/officeDocument/2006/relationships/diagramData" Target="../diagrams/data1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11" Type="http://schemas.microsoft.com/office/2007/relationships/diagramDrawing" Target="../diagrams/drawing12.xml"/><Relationship Id="rId5" Type="http://schemas.openxmlformats.org/officeDocument/2006/relationships/oleObject" Target="../embeddings/oleObject27.bin"/><Relationship Id="rId10" Type="http://schemas.openxmlformats.org/officeDocument/2006/relationships/diagramColors" Target="../diagrams/colors12.xml"/><Relationship Id="rId4" Type="http://schemas.openxmlformats.org/officeDocument/2006/relationships/slideLayout" Target="../slideLayouts/slideLayout13.xml"/><Relationship Id="rId9" Type="http://schemas.openxmlformats.org/officeDocument/2006/relationships/diagramQuickStyle" Target="../diagrams/quickStyle1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3.xml"/><Relationship Id="rId13" Type="http://schemas.openxmlformats.org/officeDocument/2006/relationships/image" Target="../media/image41.png"/><Relationship Id="rId18" Type="http://schemas.openxmlformats.org/officeDocument/2006/relationships/image" Target="../media/image20.svg"/><Relationship Id="rId3" Type="http://schemas.openxmlformats.org/officeDocument/2006/relationships/slideLayout" Target="../slideLayouts/slideLayout18.xml"/><Relationship Id="rId21" Type="http://schemas.openxmlformats.org/officeDocument/2006/relationships/image" Target="../media/image47.svg"/><Relationship Id="rId7" Type="http://schemas.openxmlformats.org/officeDocument/2006/relationships/diagramLayout" Target="../diagrams/layout13.xml"/><Relationship Id="rId12" Type="http://schemas.openxmlformats.org/officeDocument/2006/relationships/image" Target="../media/image40.png"/><Relationship Id="rId17" Type="http://schemas.openxmlformats.org/officeDocument/2006/relationships/image" Target="../media/image19.png"/><Relationship Id="rId2" Type="http://schemas.openxmlformats.org/officeDocument/2006/relationships/tags" Target="../tags/tag49.xml"/><Relationship Id="rId16" Type="http://schemas.openxmlformats.org/officeDocument/2006/relationships/image" Target="../media/image44.svg"/><Relationship Id="rId20" Type="http://schemas.openxmlformats.org/officeDocument/2006/relationships/image" Target="../media/image46.svg"/><Relationship Id="rId1" Type="http://schemas.openxmlformats.org/officeDocument/2006/relationships/vmlDrawing" Target="../drawings/vmlDrawing28.vml"/><Relationship Id="rId6" Type="http://schemas.openxmlformats.org/officeDocument/2006/relationships/diagramData" Target="../diagrams/data13.xml"/><Relationship Id="rId11" Type="http://schemas.openxmlformats.org/officeDocument/2006/relationships/customXml" Target="../ink/ink2.xml"/><Relationship Id="rId5" Type="http://schemas.openxmlformats.org/officeDocument/2006/relationships/image" Target="../media/image1.emf"/><Relationship Id="rId15" Type="http://schemas.openxmlformats.org/officeDocument/2006/relationships/image" Target="../media/image43.png"/><Relationship Id="rId10" Type="http://schemas.microsoft.com/office/2007/relationships/diagramDrawing" Target="../diagrams/drawing13.xml"/><Relationship Id="rId19" Type="http://schemas.openxmlformats.org/officeDocument/2006/relationships/image" Target="../media/image45.png"/><Relationship Id="rId4" Type="http://schemas.openxmlformats.org/officeDocument/2006/relationships/oleObject" Target="../embeddings/oleObject28.bin"/><Relationship Id="rId9" Type="http://schemas.openxmlformats.org/officeDocument/2006/relationships/diagramColors" Target="../diagrams/colors13.xml"/><Relationship Id="rId14" Type="http://schemas.openxmlformats.org/officeDocument/2006/relationships/image" Target="../media/image42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47.svg"/><Relationship Id="rId2" Type="http://schemas.openxmlformats.org/officeDocument/2006/relationships/customXml" Target="../ink/ink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0.png"/><Relationship Id="rId5" Type="http://schemas.openxmlformats.org/officeDocument/2006/relationships/image" Target="../media/image44.svg"/><Relationship Id="rId4" Type="http://schemas.openxmlformats.org/officeDocument/2006/relationships/image" Target="../media/image4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hyperlink" Target="https://medium.com/productmanagement101/design-sprints-at-google-85ff62fed5f8" TargetMode="External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svg"/><Relationship Id="rId3" Type="http://schemas.openxmlformats.org/officeDocument/2006/relationships/tags" Target="../tags/tag51.xml"/><Relationship Id="rId7" Type="http://schemas.openxmlformats.org/officeDocument/2006/relationships/image" Target="../media/image4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5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1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53.png"/><Relationship Id="rId2" Type="http://schemas.openxmlformats.org/officeDocument/2006/relationships/tags" Target="../tags/tag5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1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11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4.jpeg"/><Relationship Id="rId2" Type="http://schemas.openxmlformats.org/officeDocument/2006/relationships/tags" Target="../tags/tag56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4.xml"/><Relationship Id="rId3" Type="http://schemas.openxmlformats.org/officeDocument/2006/relationships/tags" Target="../tags/tag58.xml"/><Relationship Id="rId7" Type="http://schemas.openxmlformats.org/officeDocument/2006/relationships/diagramData" Target="../diagrams/data14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11" Type="http://schemas.microsoft.com/office/2007/relationships/diagramDrawing" Target="../diagrams/drawing14.xml"/><Relationship Id="rId5" Type="http://schemas.openxmlformats.org/officeDocument/2006/relationships/oleObject" Target="../embeddings/oleObject33.bin"/><Relationship Id="rId10" Type="http://schemas.openxmlformats.org/officeDocument/2006/relationships/diagramColors" Target="../diagrams/colors14.xml"/><Relationship Id="rId4" Type="http://schemas.openxmlformats.org/officeDocument/2006/relationships/slideLayout" Target="../slideLayouts/slideLayout2.xml"/><Relationship Id="rId9" Type="http://schemas.openxmlformats.org/officeDocument/2006/relationships/diagramQuickStyle" Target="../diagrams/quickStyle1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11.jpeg"/><Relationship Id="rId2" Type="http://schemas.openxmlformats.org/officeDocument/2006/relationships/tags" Target="../tags/tag59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image" Target="../media/image55.jpeg"/><Relationship Id="rId2" Type="http://schemas.openxmlformats.org/officeDocument/2006/relationships/tags" Target="../tags/tag61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Layout" Target="../slideLayouts/slideLayout1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11.jpeg"/><Relationship Id="rId2" Type="http://schemas.openxmlformats.org/officeDocument/2006/relationships/tags" Target="../tags/tag63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image" Target="../media/image14.jpeg"/><Relationship Id="rId2" Type="http://schemas.openxmlformats.org/officeDocument/2006/relationships/tags" Target="../tags/tag65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image" Target="../media/image11.jpeg"/><Relationship Id="rId2" Type="http://schemas.openxmlformats.org/officeDocument/2006/relationships/tags" Target="../tags/tag67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Layout" Target="../slideLayouts/slideLayout13.xml"/></Relationships>
</file>

<file path=ppt/slides/_rels/slide3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70.xml"/><Relationship Id="rId7" Type="http://schemas.openxmlformats.org/officeDocument/2006/relationships/image" Target="../media/image13.png"/><Relationship Id="rId2" Type="http://schemas.openxmlformats.org/officeDocument/2006/relationships/tags" Target="../tags/tag6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1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image" Target="../media/image11.jpeg"/><Relationship Id="rId2" Type="http://schemas.openxmlformats.org/officeDocument/2006/relationships/tags" Target="../tags/tag7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3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image" Target="../media/image12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56.png"/><Relationship Id="rId2" Type="http://schemas.openxmlformats.org/officeDocument/2006/relationships/tags" Target="../tags/tag74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57.jpeg"/><Relationship Id="rId2" Type="http://schemas.openxmlformats.org/officeDocument/2006/relationships/tags" Target="../tags/tag76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1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8.xml"/><Relationship Id="rId7" Type="http://schemas.openxmlformats.org/officeDocument/2006/relationships/image" Target="../media/image13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1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4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2907E4-33AC-47EE-90CC-08CBE65B9E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968021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2907E4-33AC-47EE-90CC-08CBE65B9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03CB462-D9E6-48BE-AF21-E78169557E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6600" b="1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686608" y="2984914"/>
            <a:ext cx="10818784" cy="1107996"/>
          </a:xfrm>
        </p:spPr>
        <p:txBody>
          <a:bodyPr/>
          <a:lstStyle/>
          <a:p>
            <a:pPr algn="ctr"/>
            <a:r>
              <a:rPr lang="nb-NO" sz="6600">
                <a:solidFill>
                  <a:schemeClr val="bg1"/>
                </a:solidFill>
              </a:rPr>
              <a:t>Velkommen til kick-</a:t>
            </a:r>
            <a:r>
              <a:rPr lang="nb-NO" sz="6600" err="1">
                <a:solidFill>
                  <a:schemeClr val="bg1"/>
                </a:solidFill>
              </a:rPr>
              <a:t>off</a:t>
            </a:r>
            <a:r>
              <a:rPr lang="nb-NO" sz="6600">
                <a:solidFill>
                  <a:schemeClr val="bg1"/>
                </a:solidFill>
              </a:rPr>
              <a:t>!</a:t>
            </a:r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686609" y="4092910"/>
            <a:ext cx="10818785" cy="797463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ctr"/>
            <a:r>
              <a:rPr lang="nb-NO" b="1">
                <a:solidFill>
                  <a:schemeClr val="bg1"/>
                </a:solidFill>
              </a:rPr>
              <a:t>Innføring BOTT ØL</a:t>
            </a:r>
            <a:endParaRPr lang="nb-NO">
              <a:solidFill>
                <a:schemeClr val="bg1"/>
              </a:solidFill>
            </a:endParaRP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91754" y="1547553"/>
            <a:ext cx="7208479" cy="57772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91FC646-4967-4503-A60F-7C8FA1187E7C}"/>
              </a:ext>
            </a:extLst>
          </p:cNvPr>
          <p:cNvSpPr/>
          <p:nvPr/>
        </p:nvSpPr>
        <p:spPr>
          <a:xfrm>
            <a:off x="5467559" y="6059060"/>
            <a:ext cx="1256883" cy="369332"/>
          </a:xfrm>
          <a:prstGeom prst="rect">
            <a:avLst/>
          </a:prstGeom>
        </p:spPr>
        <p:txBody>
          <a:bodyPr wrap="none" lIns="121920" tIns="60960" rIns="121920" bIns="60960" anchor="t">
            <a:spAutoFit/>
          </a:bodyPr>
          <a:lstStyle/>
          <a:p>
            <a:pPr algn="ctr" defTabSz="609585">
              <a:defRPr/>
            </a:pPr>
            <a:r>
              <a:rPr lang="nb-NO" sz="1600">
                <a:solidFill>
                  <a:srgbClr val="FFFFFF">
                    <a:lumMod val="85000"/>
                  </a:srgbClr>
                </a:solidFill>
                <a:latin typeface="Arial" panose="020B0604020202020204"/>
              </a:rPr>
              <a:t>11.02.2021</a:t>
            </a:r>
            <a:endParaRPr lang="nb-NO" sz="2400">
              <a:solidFill>
                <a:srgbClr val="000000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6F4E701-A755-4B89-8332-5CBD39B21C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1981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6F4E701-A755-4B89-8332-5CBD39B21C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CF9EDEC-B718-4E98-B0CA-77EE98DA032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39CC35-EDE2-4AA1-B239-00F55DD52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ort status fra prosjekt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132E2D-50FA-44E2-949A-DB03C1D4D3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5694153" cy="4818365"/>
          </a:xfrm>
        </p:spPr>
        <p:txBody>
          <a:bodyPr vert="horz" lIns="90000" tIns="46800" rIns="90000" bIns="46800" rtlCol="0" anchor="t">
            <a:noAutofit/>
          </a:bodyPr>
          <a:lstStyle/>
          <a:p>
            <a:pPr marL="456565" indent="-456565"/>
            <a:r>
              <a:rPr lang="nb-NO" sz="2000"/>
              <a:t>Prosjektet har benyttet viktig tid på å forankre og kvalitetssikre et felles ambisjonsnivå som vi skal oppnå gjennom innføringen av BOTT ØL</a:t>
            </a:r>
          </a:p>
          <a:p>
            <a:pPr marL="456565" indent="-456565"/>
            <a:r>
              <a:rPr lang="nb-NO" sz="2000"/>
              <a:t>Vi har innhentet kunnskap og bygget kompetanse.</a:t>
            </a:r>
          </a:p>
          <a:p>
            <a:pPr marL="456565" indent="-456565"/>
            <a:r>
              <a:rPr lang="nb-NO" sz="2000"/>
              <a:t>Vi har rigget oss klar til det intensive arbeidet som skal gjennomføres de kommende månedene for å sikre at vi har god tid til organisasjonsprosesser og forankring</a:t>
            </a:r>
          </a:p>
          <a:p>
            <a:pPr marL="456565" indent="-456565"/>
            <a:r>
              <a:rPr lang="nb-NO" sz="2000"/>
              <a:t>Vi har sikret at vi har høstet lærdom fra UiB og UiO og vil holde tett dialog videre for å lære og bygge videre på erfaringene.</a:t>
            </a:r>
          </a:p>
          <a:p>
            <a:pPr marL="456565" indent="-456565"/>
            <a:r>
              <a:rPr lang="nb-NO" sz="2000"/>
              <a:t>Vi har laget en felles nettside for informasjon og oppdatering:</a:t>
            </a:r>
            <a:r>
              <a:rPr lang="nb-NO" sz="2000" b="1"/>
              <a:t> </a:t>
            </a:r>
            <a:r>
              <a:rPr lang="nb-NO" sz="2000" b="1">
                <a:solidFill>
                  <a:schemeClr val="tx2"/>
                </a:solidFill>
              </a:rPr>
              <a:t>s.ntnu.no/bott-ol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3513B32-1CA6-4206-820E-9FD66388CCF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342" r="31952"/>
          <a:stretch/>
        </p:blipFill>
        <p:spPr>
          <a:xfrm>
            <a:off x="7339013" y="1526382"/>
            <a:ext cx="3805237" cy="380523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2818776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ct 48" hidden="1">
            <a:extLst>
              <a:ext uri="{FF2B5EF4-FFF2-40B4-BE49-F238E27FC236}">
                <a16:creationId xmlns:a16="http://schemas.microsoft.com/office/drawing/2014/main" id="{38CF11CE-7B90-4862-92CF-59F04797F7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171620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49" name="Object 48" hidden="1">
                        <a:extLst>
                          <a:ext uri="{FF2B5EF4-FFF2-40B4-BE49-F238E27FC236}">
                            <a16:creationId xmlns:a16="http://schemas.microsoft.com/office/drawing/2014/main" id="{38CF11CE-7B90-4862-92CF-59F04797F7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71B0D715-2877-4E00-8779-01D5844E47E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rgbClr val="01509D"/>
          </a:solidFill>
          <a:ln>
            <a:noFill/>
          </a:ln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4000" b="1">
              <a:solidFill>
                <a:srgbClr val="00000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5" name="Avrundet rektangel 35">
            <a:extLst>
              <a:ext uri="{FF2B5EF4-FFF2-40B4-BE49-F238E27FC236}">
                <a16:creationId xmlns:a16="http://schemas.microsoft.com/office/drawing/2014/main" id="{4835D7B2-408F-46E9-B105-427A45EEA3F4}"/>
              </a:ext>
            </a:extLst>
          </p:cNvPr>
          <p:cNvSpPr/>
          <p:nvPr/>
        </p:nvSpPr>
        <p:spPr>
          <a:xfrm>
            <a:off x="10038890" y="2108897"/>
            <a:ext cx="2032311" cy="2194976"/>
          </a:xfrm>
          <a:prstGeom prst="roundRect">
            <a:avLst>
              <a:gd name="adj" fmla="val 6716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457178"/>
            <a:endParaRPr lang="nb-NO" sz="1000" i="1">
              <a:solidFill>
                <a:prstClr val="white"/>
              </a:solidFill>
              <a:latin typeface="Calibri"/>
            </a:endParaRPr>
          </a:p>
          <a:p>
            <a:pPr algn="ctr" defTabSz="457178"/>
            <a:endParaRPr lang="nb-NO" sz="1000" i="1">
              <a:solidFill>
                <a:prstClr val="white"/>
              </a:solidFill>
              <a:latin typeface="Calibri"/>
            </a:endParaRPr>
          </a:p>
          <a:p>
            <a:pPr algn="ctr" defTabSz="457178"/>
            <a:endParaRPr lang="nb-NO" sz="1000" i="1">
              <a:solidFill>
                <a:prstClr val="white"/>
              </a:solidFill>
              <a:latin typeface="Calibri"/>
            </a:endParaRPr>
          </a:p>
          <a:p>
            <a:pPr algn="ctr" defTabSz="457178"/>
            <a:endParaRPr lang="nb-NO" sz="1000" i="1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EECF2778-4698-4CDE-BA60-C7C3B699C5F0}"/>
              </a:ext>
            </a:extLst>
          </p:cNvPr>
          <p:cNvCxnSpPr>
            <a:cxnSpLocks/>
          </p:cNvCxnSpPr>
          <p:nvPr/>
        </p:nvCxnSpPr>
        <p:spPr>
          <a:xfrm flipV="1">
            <a:off x="2329443" y="1786810"/>
            <a:ext cx="0" cy="316452"/>
          </a:xfrm>
          <a:prstGeom prst="line">
            <a:avLst/>
          </a:prstGeom>
          <a:ln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Avrundet rektangel 35">
            <a:extLst>
              <a:ext uri="{FF2B5EF4-FFF2-40B4-BE49-F238E27FC236}">
                <a16:creationId xmlns:a16="http://schemas.microsoft.com/office/drawing/2014/main" id="{BF2CBFF6-D507-4426-A361-9C035CB2E6E7}"/>
              </a:ext>
            </a:extLst>
          </p:cNvPr>
          <p:cNvSpPr/>
          <p:nvPr/>
        </p:nvSpPr>
        <p:spPr>
          <a:xfrm>
            <a:off x="1046093" y="2103261"/>
            <a:ext cx="2303251" cy="4185511"/>
          </a:xfrm>
          <a:prstGeom prst="roundRect">
            <a:avLst>
              <a:gd name="adj" fmla="val 6716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457178">
              <a:defRPr/>
            </a:pPr>
            <a:endParaRPr lang="nb-NO" sz="1000" i="1">
              <a:solidFill>
                <a:prstClr val="white"/>
              </a:solidFill>
              <a:latin typeface="Calibri"/>
            </a:endParaRPr>
          </a:p>
          <a:p>
            <a:pPr algn="ctr" defTabSz="457178">
              <a:defRPr/>
            </a:pPr>
            <a:endParaRPr lang="nb-NO" sz="1000" i="1">
              <a:solidFill>
                <a:prstClr val="white"/>
              </a:solidFill>
              <a:latin typeface="Calibri"/>
            </a:endParaRPr>
          </a:p>
          <a:p>
            <a:pPr algn="ctr" defTabSz="457178">
              <a:defRPr/>
            </a:pPr>
            <a:endParaRPr lang="nb-NO" sz="1000" i="1">
              <a:solidFill>
                <a:prstClr val="white"/>
              </a:solidFill>
              <a:latin typeface="Calibri"/>
            </a:endParaRPr>
          </a:p>
          <a:p>
            <a:pPr algn="ctr" defTabSz="457178">
              <a:defRPr/>
            </a:pPr>
            <a:endParaRPr lang="nb-NO" sz="1000" i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3" name="Avrundet rektangel 35">
            <a:extLst>
              <a:ext uri="{FF2B5EF4-FFF2-40B4-BE49-F238E27FC236}">
                <a16:creationId xmlns:a16="http://schemas.microsoft.com/office/drawing/2014/main" id="{3411AE87-D935-4206-926F-BCAEE52370E0}"/>
              </a:ext>
            </a:extLst>
          </p:cNvPr>
          <p:cNvSpPr/>
          <p:nvPr/>
        </p:nvSpPr>
        <p:spPr>
          <a:xfrm>
            <a:off x="3513240" y="2133947"/>
            <a:ext cx="6268779" cy="4185511"/>
          </a:xfrm>
          <a:prstGeom prst="roundRect">
            <a:avLst>
              <a:gd name="adj" fmla="val 6716"/>
            </a:avLst>
          </a:prstGeom>
          <a:solidFill>
            <a:srgbClr val="01509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457178">
              <a:defRPr/>
            </a:pPr>
            <a:endParaRPr lang="nb-NO" sz="1000" i="1">
              <a:solidFill>
                <a:prstClr val="white"/>
              </a:solidFill>
              <a:latin typeface="Calibri"/>
            </a:endParaRPr>
          </a:p>
          <a:p>
            <a:pPr algn="ctr" defTabSz="457178">
              <a:defRPr/>
            </a:pPr>
            <a:endParaRPr lang="nb-NO" sz="1000" i="1">
              <a:solidFill>
                <a:prstClr val="white"/>
              </a:solidFill>
              <a:latin typeface="Calibri"/>
            </a:endParaRPr>
          </a:p>
          <a:p>
            <a:pPr algn="ctr" defTabSz="457178">
              <a:defRPr/>
            </a:pPr>
            <a:endParaRPr lang="nb-NO" sz="1000" i="1">
              <a:solidFill>
                <a:prstClr val="white"/>
              </a:solidFill>
              <a:latin typeface="Calibri"/>
            </a:endParaRPr>
          </a:p>
          <a:p>
            <a:pPr algn="ctr" defTabSz="457178">
              <a:defRPr/>
            </a:pPr>
            <a:endParaRPr lang="nb-NO" sz="1000" i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E2446C-F4BE-4520-966D-B2FDD3DB0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19" y="-38849"/>
            <a:ext cx="10809939" cy="710067"/>
          </a:xfrm>
        </p:spPr>
        <p:txBody>
          <a:bodyPr/>
          <a:lstStyle/>
          <a:p>
            <a:r>
              <a:rPr lang="nb-NO" sz="4000"/>
              <a:t>BOTT ØL Innføring</a:t>
            </a:r>
          </a:p>
        </p:txBody>
      </p:sp>
      <p:sp>
        <p:nvSpPr>
          <p:cNvPr id="7" name="Avrundet rektangel 82">
            <a:extLst>
              <a:ext uri="{FF2B5EF4-FFF2-40B4-BE49-F238E27FC236}">
                <a16:creationId xmlns:a16="http://schemas.microsoft.com/office/drawing/2014/main" id="{21857B4A-4993-4E84-A651-72A532CF11EF}"/>
              </a:ext>
            </a:extLst>
          </p:cNvPr>
          <p:cNvSpPr/>
          <p:nvPr/>
        </p:nvSpPr>
        <p:spPr>
          <a:xfrm>
            <a:off x="934388" y="992753"/>
            <a:ext cx="2116933" cy="482211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78">
              <a:defRPr/>
            </a:pPr>
            <a:r>
              <a:rPr lang="nb-NO" sz="800" b="1">
                <a:solidFill>
                  <a:prstClr val="black"/>
                </a:solidFill>
                <a:latin typeface="Calibri"/>
              </a:rPr>
              <a:t>Fakultet</a:t>
            </a:r>
            <a:endParaRPr lang="nb-NO" sz="800" i="1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2EAE9DF-E1D2-4205-84FF-501490D9DB2C}"/>
              </a:ext>
            </a:extLst>
          </p:cNvPr>
          <p:cNvCxnSpPr>
            <a:cxnSpLocks/>
          </p:cNvCxnSpPr>
          <p:nvPr/>
        </p:nvCxnSpPr>
        <p:spPr>
          <a:xfrm>
            <a:off x="2126407" y="1228369"/>
            <a:ext cx="8180" cy="32045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Avrundet rektangel 82">
            <a:extLst>
              <a:ext uri="{FF2B5EF4-FFF2-40B4-BE49-F238E27FC236}">
                <a16:creationId xmlns:a16="http://schemas.microsoft.com/office/drawing/2014/main" id="{12D37979-8351-44F5-86E9-B4FAC399BBDC}"/>
              </a:ext>
            </a:extLst>
          </p:cNvPr>
          <p:cNvSpPr/>
          <p:nvPr/>
        </p:nvSpPr>
        <p:spPr>
          <a:xfrm>
            <a:off x="1402680" y="4358239"/>
            <a:ext cx="1670595" cy="305615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 defTabSz="457178">
              <a:defRPr/>
            </a:pPr>
            <a:r>
              <a:rPr lang="nb-NO" sz="800" b="1">
                <a:solidFill>
                  <a:srgbClr val="000000"/>
                </a:solidFill>
                <a:latin typeface="Calibri"/>
              </a:rPr>
              <a:t>Innføring NV-</a:t>
            </a:r>
            <a:r>
              <a:rPr lang="nb-NO" sz="800" b="1" err="1">
                <a:solidFill>
                  <a:srgbClr val="000000"/>
                </a:solidFill>
                <a:latin typeface="Calibri"/>
              </a:rPr>
              <a:t>fak</a:t>
            </a:r>
            <a:endParaRPr lang="nb-NO" sz="800" b="1">
              <a:solidFill>
                <a:srgbClr val="000000"/>
              </a:solidFill>
              <a:latin typeface="Calibri"/>
            </a:endParaRPr>
          </a:p>
          <a:p>
            <a:pPr algn="ctr" defTabSz="457178">
              <a:defRPr/>
            </a:pPr>
            <a:r>
              <a:rPr lang="nb-NO" sz="800" i="1">
                <a:solidFill>
                  <a:srgbClr val="000000"/>
                </a:solidFill>
                <a:latin typeface="Calibri"/>
              </a:rPr>
              <a:t>Lokalt ansvarlig</a:t>
            </a:r>
            <a:endParaRPr lang="nb-NO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1" name="Avrundet rektangel 82">
            <a:extLst>
              <a:ext uri="{FF2B5EF4-FFF2-40B4-BE49-F238E27FC236}">
                <a16:creationId xmlns:a16="http://schemas.microsoft.com/office/drawing/2014/main" id="{0AD3178B-5EDD-4BFE-A7E9-878FBA9F910D}"/>
              </a:ext>
            </a:extLst>
          </p:cNvPr>
          <p:cNvSpPr/>
          <p:nvPr/>
        </p:nvSpPr>
        <p:spPr>
          <a:xfrm>
            <a:off x="1402680" y="3271037"/>
            <a:ext cx="1670595" cy="305615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 defTabSz="457178">
              <a:defRPr/>
            </a:pPr>
            <a:r>
              <a:rPr lang="nb-NO" sz="800" b="1">
                <a:solidFill>
                  <a:srgbClr val="000000"/>
                </a:solidFill>
                <a:latin typeface="Calibri"/>
              </a:rPr>
              <a:t>Innføring IE-</a:t>
            </a:r>
            <a:r>
              <a:rPr lang="nb-NO" sz="800" b="1" err="1">
                <a:solidFill>
                  <a:srgbClr val="000000"/>
                </a:solidFill>
                <a:latin typeface="Calibri"/>
              </a:rPr>
              <a:t>fak</a:t>
            </a:r>
            <a:endParaRPr lang="nb-NO" sz="800" b="1">
              <a:solidFill>
                <a:srgbClr val="000000"/>
              </a:solidFill>
              <a:latin typeface="Calibri"/>
            </a:endParaRPr>
          </a:p>
          <a:p>
            <a:pPr algn="ctr" defTabSz="457178">
              <a:defRPr/>
            </a:pPr>
            <a:r>
              <a:rPr lang="nb-NO" sz="800" i="1">
                <a:solidFill>
                  <a:srgbClr val="000000"/>
                </a:solidFill>
                <a:latin typeface="Calibri"/>
              </a:rPr>
              <a:t>Lokalt ansvarlig</a:t>
            </a:r>
            <a:endParaRPr lang="nb-NO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2" name="Avrundet rektangel 50">
            <a:extLst>
              <a:ext uri="{FF2B5EF4-FFF2-40B4-BE49-F238E27FC236}">
                <a16:creationId xmlns:a16="http://schemas.microsoft.com/office/drawing/2014/main" id="{7626C294-6CA9-41C7-86AF-9B0E89B0EA11}"/>
              </a:ext>
            </a:extLst>
          </p:cNvPr>
          <p:cNvSpPr/>
          <p:nvPr/>
        </p:nvSpPr>
        <p:spPr>
          <a:xfrm>
            <a:off x="10044627" y="998443"/>
            <a:ext cx="1986113" cy="251684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78"/>
            <a:r>
              <a:rPr lang="nb-NO" sz="1100" b="1">
                <a:solidFill>
                  <a:prstClr val="black"/>
                </a:solidFill>
                <a:latin typeface="Calibri"/>
              </a:rPr>
              <a:t>Digitaliseringsprogrammet</a:t>
            </a:r>
          </a:p>
        </p:txBody>
      </p:sp>
      <p:sp>
        <p:nvSpPr>
          <p:cNvPr id="13" name="Avrundet rektangel 82">
            <a:extLst>
              <a:ext uri="{FF2B5EF4-FFF2-40B4-BE49-F238E27FC236}">
                <a16:creationId xmlns:a16="http://schemas.microsoft.com/office/drawing/2014/main" id="{87012765-EE1F-4BB9-8321-17D535B343EE}"/>
              </a:ext>
            </a:extLst>
          </p:cNvPr>
          <p:cNvSpPr/>
          <p:nvPr/>
        </p:nvSpPr>
        <p:spPr>
          <a:xfrm>
            <a:off x="1402680" y="2896577"/>
            <a:ext cx="1670595" cy="317673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 defTabSz="457178">
              <a:defRPr/>
            </a:pPr>
            <a:r>
              <a:rPr lang="nb-NO" sz="800" b="1">
                <a:solidFill>
                  <a:srgbClr val="000000"/>
                </a:solidFill>
                <a:latin typeface="Calibri"/>
              </a:rPr>
              <a:t>Innføring HF-</a:t>
            </a:r>
            <a:r>
              <a:rPr lang="nb-NO" sz="800" b="1" err="1">
                <a:solidFill>
                  <a:srgbClr val="000000"/>
                </a:solidFill>
                <a:latin typeface="Calibri"/>
              </a:rPr>
              <a:t>fak</a:t>
            </a:r>
            <a:br>
              <a:rPr lang="nb-NO" sz="800">
                <a:solidFill>
                  <a:srgbClr val="000000"/>
                </a:solidFill>
                <a:latin typeface="Calibri"/>
              </a:rPr>
            </a:br>
            <a:r>
              <a:rPr lang="nb-NO" sz="800" i="1">
                <a:solidFill>
                  <a:srgbClr val="000000"/>
                </a:solidFill>
                <a:latin typeface="Calibri"/>
              </a:rPr>
              <a:t>Lokalt ansvarlig</a:t>
            </a:r>
            <a:endParaRPr lang="nb-NO" sz="800" i="1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Avrundet rektangel 36">
            <a:extLst>
              <a:ext uri="{FF2B5EF4-FFF2-40B4-BE49-F238E27FC236}">
                <a16:creationId xmlns:a16="http://schemas.microsoft.com/office/drawing/2014/main" id="{F757DC1F-0732-4ACB-85E0-34E652398619}"/>
              </a:ext>
            </a:extLst>
          </p:cNvPr>
          <p:cNvSpPr/>
          <p:nvPr/>
        </p:nvSpPr>
        <p:spPr>
          <a:xfrm>
            <a:off x="5129433" y="1095677"/>
            <a:ext cx="3036392" cy="525247"/>
          </a:xfrm>
          <a:prstGeom prst="roundRect">
            <a:avLst>
              <a:gd name="adj" fmla="val 21849"/>
            </a:avLst>
          </a:prstGeom>
          <a:solidFill>
            <a:srgbClr val="01509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>
              <a:defRPr/>
            </a:pPr>
            <a:r>
              <a:rPr lang="nb-NO" sz="1100" b="1">
                <a:solidFill>
                  <a:prstClr val="white"/>
                </a:solidFill>
                <a:latin typeface="Calibri"/>
              </a:rPr>
              <a:t>Styringsgruppe</a:t>
            </a:r>
            <a:br>
              <a:rPr lang="nb-NO" sz="1100">
                <a:solidFill>
                  <a:prstClr val="white"/>
                </a:solidFill>
                <a:latin typeface="Calibri"/>
              </a:rPr>
            </a:br>
            <a:r>
              <a:rPr lang="nb-NO" sz="1100">
                <a:solidFill>
                  <a:prstClr val="white"/>
                </a:solidFill>
                <a:latin typeface="Calibri"/>
              </a:rPr>
              <a:t>BOTT ØL Innføring</a:t>
            </a:r>
          </a:p>
        </p:txBody>
      </p:sp>
      <p:cxnSp>
        <p:nvCxnSpPr>
          <p:cNvPr id="15" name="Rett linje 40">
            <a:extLst>
              <a:ext uri="{FF2B5EF4-FFF2-40B4-BE49-F238E27FC236}">
                <a16:creationId xmlns:a16="http://schemas.microsoft.com/office/drawing/2014/main" id="{0CA76AC2-256C-4AAC-B39D-8DF387DA713B}"/>
              </a:ext>
            </a:extLst>
          </p:cNvPr>
          <p:cNvCxnSpPr>
            <a:cxnSpLocks/>
            <a:stCxn id="17" idx="2"/>
            <a:endCxn id="14" idx="0"/>
          </p:cNvCxnSpPr>
          <p:nvPr/>
        </p:nvCxnSpPr>
        <p:spPr>
          <a:xfrm>
            <a:off x="6647629" y="930524"/>
            <a:ext cx="0" cy="16515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Avrundet rektangel 2">
            <a:extLst>
              <a:ext uri="{FF2B5EF4-FFF2-40B4-BE49-F238E27FC236}">
                <a16:creationId xmlns:a16="http://schemas.microsoft.com/office/drawing/2014/main" id="{54C9F4E5-DF57-48CD-A7ED-7C554EF53B87}"/>
              </a:ext>
            </a:extLst>
          </p:cNvPr>
          <p:cNvSpPr/>
          <p:nvPr/>
        </p:nvSpPr>
        <p:spPr>
          <a:xfrm>
            <a:off x="5129433" y="316438"/>
            <a:ext cx="3036392" cy="614087"/>
          </a:xfrm>
          <a:prstGeom prst="roundRect">
            <a:avLst>
              <a:gd name="adj" fmla="val 12550"/>
            </a:avLst>
          </a:prstGeom>
          <a:solidFill>
            <a:srgbClr val="01509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>
              <a:defRPr/>
            </a:pPr>
            <a:r>
              <a:rPr lang="nb-NO" sz="1100" b="1">
                <a:solidFill>
                  <a:prstClr val="white"/>
                </a:solidFill>
                <a:latin typeface="Arial" panose="020B0604020202020204"/>
              </a:rPr>
              <a:t>Prosjekteier</a:t>
            </a:r>
          </a:p>
          <a:p>
            <a:pPr algn="ctr" defTabSz="457178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Økonomi og eiendomsdirektør</a:t>
            </a:r>
          </a:p>
        </p:txBody>
      </p:sp>
      <p:cxnSp>
        <p:nvCxnSpPr>
          <p:cNvPr id="18" name="Rett linje 113">
            <a:extLst>
              <a:ext uri="{FF2B5EF4-FFF2-40B4-BE49-F238E27FC236}">
                <a16:creationId xmlns:a16="http://schemas.microsoft.com/office/drawing/2014/main" id="{50FA4161-7E9F-4EAC-AF89-5F9C2978E034}"/>
              </a:ext>
            </a:extLst>
          </p:cNvPr>
          <p:cNvCxnSpPr>
            <a:cxnSpLocks/>
            <a:stCxn id="14" idx="2"/>
            <a:endCxn id="43" idx="0"/>
          </p:cNvCxnSpPr>
          <p:nvPr/>
        </p:nvCxnSpPr>
        <p:spPr>
          <a:xfrm>
            <a:off x="6647629" y="1620924"/>
            <a:ext cx="0" cy="51302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Avrundet rektangel 82">
            <a:extLst>
              <a:ext uri="{FF2B5EF4-FFF2-40B4-BE49-F238E27FC236}">
                <a16:creationId xmlns:a16="http://schemas.microsoft.com/office/drawing/2014/main" id="{C226B1E2-DE64-4810-AC01-04DB72104AD3}"/>
              </a:ext>
            </a:extLst>
          </p:cNvPr>
          <p:cNvSpPr/>
          <p:nvPr/>
        </p:nvSpPr>
        <p:spPr>
          <a:xfrm>
            <a:off x="1402680" y="3633437"/>
            <a:ext cx="1670595" cy="305615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 defTabSz="457178">
              <a:defRPr/>
            </a:pPr>
            <a:r>
              <a:rPr lang="nb-NO" sz="800" b="1">
                <a:solidFill>
                  <a:srgbClr val="000000"/>
                </a:solidFill>
                <a:latin typeface="Calibri"/>
              </a:rPr>
              <a:t>Innføring IV-</a:t>
            </a:r>
            <a:r>
              <a:rPr lang="nb-NO" sz="800" b="1" err="1">
                <a:solidFill>
                  <a:srgbClr val="000000"/>
                </a:solidFill>
                <a:latin typeface="Calibri"/>
              </a:rPr>
              <a:t>fak</a:t>
            </a:r>
            <a:endParaRPr lang="nb-NO" sz="800" b="1">
              <a:solidFill>
                <a:srgbClr val="000000"/>
              </a:solidFill>
              <a:latin typeface="Calibri"/>
            </a:endParaRPr>
          </a:p>
          <a:p>
            <a:pPr algn="ctr" defTabSz="457178">
              <a:defRPr/>
            </a:pPr>
            <a:r>
              <a:rPr lang="nb-NO" sz="800" i="1">
                <a:solidFill>
                  <a:srgbClr val="000000"/>
                </a:solidFill>
                <a:latin typeface="Calibri"/>
              </a:rPr>
              <a:t>Lokalt ansvarlig</a:t>
            </a:r>
            <a:endParaRPr lang="nb-NO">
              <a:solidFill>
                <a:srgbClr val="000000"/>
              </a:solidFill>
              <a:latin typeface="Arial" panose="020B0604020202020204"/>
            </a:endParaRPr>
          </a:p>
        </p:txBody>
      </p:sp>
      <p:cxnSp>
        <p:nvCxnSpPr>
          <p:cNvPr id="24" name="Kobling: vinkel 43">
            <a:extLst>
              <a:ext uri="{FF2B5EF4-FFF2-40B4-BE49-F238E27FC236}">
                <a16:creationId xmlns:a16="http://schemas.microsoft.com/office/drawing/2014/main" id="{98B55348-AB80-4C89-A299-5294BBCDC2D6}"/>
              </a:ext>
            </a:extLst>
          </p:cNvPr>
          <p:cNvCxnSpPr>
            <a:cxnSpLocks/>
            <a:stCxn id="12" idx="1"/>
            <a:endCxn id="14" idx="3"/>
          </p:cNvCxnSpPr>
          <p:nvPr/>
        </p:nvCxnSpPr>
        <p:spPr>
          <a:xfrm rot="10800000" flipV="1">
            <a:off x="8165825" y="1124285"/>
            <a:ext cx="1878802" cy="234016"/>
          </a:xfrm>
          <a:prstGeom prst="bentConnector3">
            <a:avLst>
              <a:gd name="adj1" fmla="val 50000"/>
            </a:avLst>
          </a:prstGeom>
          <a:ln>
            <a:prstDash val="sysDash"/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Avrundet rektangel 82">
            <a:extLst>
              <a:ext uri="{FF2B5EF4-FFF2-40B4-BE49-F238E27FC236}">
                <a16:creationId xmlns:a16="http://schemas.microsoft.com/office/drawing/2014/main" id="{0CBC7CA6-BFC8-4644-9F40-9A676D012835}"/>
              </a:ext>
            </a:extLst>
          </p:cNvPr>
          <p:cNvSpPr/>
          <p:nvPr/>
        </p:nvSpPr>
        <p:spPr>
          <a:xfrm>
            <a:off x="1402680" y="4720641"/>
            <a:ext cx="1670595" cy="305615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 defTabSz="457178">
              <a:defRPr/>
            </a:pPr>
            <a:r>
              <a:rPr lang="nb-NO" sz="800" b="1">
                <a:solidFill>
                  <a:srgbClr val="000000"/>
                </a:solidFill>
                <a:latin typeface="Calibri"/>
              </a:rPr>
              <a:t>Innføring SU-</a:t>
            </a:r>
            <a:r>
              <a:rPr lang="nb-NO" sz="800" b="1" err="1">
                <a:solidFill>
                  <a:srgbClr val="000000"/>
                </a:solidFill>
                <a:latin typeface="Calibri"/>
              </a:rPr>
              <a:t>fak</a:t>
            </a:r>
            <a:endParaRPr lang="nb-NO" sz="800" b="1">
              <a:solidFill>
                <a:srgbClr val="000000"/>
              </a:solidFill>
              <a:latin typeface="Calibri"/>
            </a:endParaRPr>
          </a:p>
          <a:p>
            <a:pPr algn="ctr" defTabSz="457178">
              <a:defRPr/>
            </a:pPr>
            <a:r>
              <a:rPr lang="nb-NO" sz="800" i="1">
                <a:solidFill>
                  <a:srgbClr val="000000"/>
                </a:solidFill>
                <a:latin typeface="Calibri"/>
              </a:rPr>
              <a:t>Lokalt ansvarlig</a:t>
            </a:r>
            <a:endParaRPr lang="nb-NO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6" name="Avrundet rektangel 82">
            <a:extLst>
              <a:ext uri="{FF2B5EF4-FFF2-40B4-BE49-F238E27FC236}">
                <a16:creationId xmlns:a16="http://schemas.microsoft.com/office/drawing/2014/main" id="{97E3E78D-1FE1-416B-AF77-50AEA0AADCFD}"/>
              </a:ext>
            </a:extLst>
          </p:cNvPr>
          <p:cNvSpPr/>
          <p:nvPr/>
        </p:nvSpPr>
        <p:spPr>
          <a:xfrm>
            <a:off x="1402680" y="2534175"/>
            <a:ext cx="1670595" cy="305615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 defTabSz="457178">
              <a:defRPr/>
            </a:pPr>
            <a:r>
              <a:rPr lang="nb-NO" sz="800" b="1">
                <a:solidFill>
                  <a:srgbClr val="000000"/>
                </a:solidFill>
                <a:latin typeface="Calibri"/>
              </a:rPr>
              <a:t>Innføring AD-</a:t>
            </a:r>
            <a:r>
              <a:rPr lang="nb-NO" sz="800" b="1" err="1">
                <a:solidFill>
                  <a:srgbClr val="000000"/>
                </a:solidFill>
                <a:latin typeface="Calibri"/>
              </a:rPr>
              <a:t>fak</a:t>
            </a:r>
            <a:endParaRPr lang="nb-NO" sz="800" b="1">
              <a:solidFill>
                <a:srgbClr val="000000"/>
              </a:solidFill>
              <a:latin typeface="Calibri"/>
            </a:endParaRPr>
          </a:p>
          <a:p>
            <a:pPr algn="ctr" defTabSz="457178">
              <a:defRPr/>
            </a:pPr>
            <a:r>
              <a:rPr lang="nb-NO" sz="800" i="1">
                <a:solidFill>
                  <a:srgbClr val="000000"/>
                </a:solidFill>
                <a:latin typeface="Calibri"/>
              </a:rPr>
              <a:t>Lokalt ansvarlig</a:t>
            </a:r>
            <a:endParaRPr lang="nb-NO" sz="800" i="1">
              <a:solidFill>
                <a:srgbClr val="000000"/>
              </a:solidFill>
              <a:latin typeface="Calibri"/>
              <a:cs typeface="Calibri"/>
            </a:endParaRPr>
          </a:p>
        </p:txBody>
      </p:sp>
      <p:sp>
        <p:nvSpPr>
          <p:cNvPr id="27" name="Avrundet rektangel 82">
            <a:extLst>
              <a:ext uri="{FF2B5EF4-FFF2-40B4-BE49-F238E27FC236}">
                <a16:creationId xmlns:a16="http://schemas.microsoft.com/office/drawing/2014/main" id="{7454038B-E07D-444A-AAC2-F667682A793E}"/>
              </a:ext>
            </a:extLst>
          </p:cNvPr>
          <p:cNvSpPr/>
          <p:nvPr/>
        </p:nvSpPr>
        <p:spPr>
          <a:xfrm>
            <a:off x="1402680" y="5083041"/>
            <a:ext cx="1670595" cy="305615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 defTabSz="457178">
              <a:defRPr/>
            </a:pPr>
            <a:r>
              <a:rPr lang="nb-NO" sz="800" b="1">
                <a:solidFill>
                  <a:srgbClr val="000000"/>
                </a:solidFill>
                <a:latin typeface="Calibri"/>
              </a:rPr>
              <a:t>Innføring ØK-</a:t>
            </a:r>
            <a:r>
              <a:rPr lang="nb-NO" sz="800" b="1" err="1">
                <a:solidFill>
                  <a:srgbClr val="000000"/>
                </a:solidFill>
                <a:latin typeface="Calibri"/>
              </a:rPr>
              <a:t>fak</a:t>
            </a:r>
            <a:endParaRPr lang="nb-NO" sz="800" b="1">
              <a:solidFill>
                <a:srgbClr val="000000"/>
              </a:solidFill>
              <a:latin typeface="Calibri"/>
            </a:endParaRPr>
          </a:p>
          <a:p>
            <a:pPr algn="ctr" defTabSz="457178">
              <a:defRPr/>
            </a:pPr>
            <a:r>
              <a:rPr lang="nb-NO" sz="800" i="1">
                <a:solidFill>
                  <a:srgbClr val="000000"/>
                </a:solidFill>
                <a:latin typeface="Calibri"/>
              </a:rPr>
              <a:t>Lokalt ansvarlig</a:t>
            </a:r>
            <a:endParaRPr lang="nb-NO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8" name="Avrundet rektangel 82">
            <a:extLst>
              <a:ext uri="{FF2B5EF4-FFF2-40B4-BE49-F238E27FC236}">
                <a16:creationId xmlns:a16="http://schemas.microsoft.com/office/drawing/2014/main" id="{B2C45299-4016-45AC-9DEC-7DF0AA2BCB4D}"/>
              </a:ext>
            </a:extLst>
          </p:cNvPr>
          <p:cNvSpPr/>
          <p:nvPr/>
        </p:nvSpPr>
        <p:spPr>
          <a:xfrm>
            <a:off x="1402680" y="5445442"/>
            <a:ext cx="1670595" cy="305615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 defTabSz="457178">
              <a:defRPr/>
            </a:pPr>
            <a:r>
              <a:rPr lang="nb-NO" sz="800" b="1">
                <a:solidFill>
                  <a:srgbClr val="000000"/>
                </a:solidFill>
                <a:latin typeface="Calibri"/>
              </a:rPr>
              <a:t>Innføring VM</a:t>
            </a:r>
          </a:p>
          <a:p>
            <a:pPr algn="ctr" defTabSz="457178">
              <a:defRPr/>
            </a:pPr>
            <a:r>
              <a:rPr lang="nb-NO" sz="800" i="1">
                <a:solidFill>
                  <a:srgbClr val="000000"/>
                </a:solidFill>
                <a:latin typeface="Calibri"/>
              </a:rPr>
              <a:t>Lokalt ansvarlig</a:t>
            </a:r>
            <a:endParaRPr lang="nb-NO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30" name="Avrundet rektangel 82">
            <a:extLst>
              <a:ext uri="{FF2B5EF4-FFF2-40B4-BE49-F238E27FC236}">
                <a16:creationId xmlns:a16="http://schemas.microsoft.com/office/drawing/2014/main" id="{E4A2EB66-956B-41BB-90D3-90397FB81383}"/>
              </a:ext>
            </a:extLst>
          </p:cNvPr>
          <p:cNvSpPr/>
          <p:nvPr/>
        </p:nvSpPr>
        <p:spPr>
          <a:xfrm>
            <a:off x="1402680" y="3995838"/>
            <a:ext cx="1670595" cy="305615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 defTabSz="457178">
              <a:defRPr/>
            </a:pPr>
            <a:r>
              <a:rPr lang="nb-NO" sz="800" b="1">
                <a:solidFill>
                  <a:srgbClr val="000000"/>
                </a:solidFill>
                <a:latin typeface="Calibri"/>
              </a:rPr>
              <a:t>Innføring MH-</a:t>
            </a:r>
            <a:r>
              <a:rPr lang="nb-NO" sz="800" b="1" err="1">
                <a:solidFill>
                  <a:srgbClr val="000000"/>
                </a:solidFill>
                <a:latin typeface="Calibri"/>
              </a:rPr>
              <a:t>fak</a:t>
            </a:r>
            <a:endParaRPr lang="nb-NO" sz="800" b="1">
              <a:solidFill>
                <a:srgbClr val="000000"/>
              </a:solidFill>
              <a:latin typeface="Calibri"/>
            </a:endParaRPr>
          </a:p>
          <a:p>
            <a:pPr algn="ctr" defTabSz="457178">
              <a:defRPr/>
            </a:pPr>
            <a:r>
              <a:rPr lang="nb-NO" sz="800" i="1">
                <a:solidFill>
                  <a:srgbClr val="000000"/>
                </a:solidFill>
                <a:latin typeface="Calibri"/>
              </a:rPr>
              <a:t>Lokalt ansvarlig</a:t>
            </a:r>
            <a:endParaRPr lang="nb-NO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31" name="Avrundet rektangel 82">
            <a:extLst>
              <a:ext uri="{FF2B5EF4-FFF2-40B4-BE49-F238E27FC236}">
                <a16:creationId xmlns:a16="http://schemas.microsoft.com/office/drawing/2014/main" id="{4A1F51C9-F154-4599-B5B7-59C24CCBDB9A}"/>
              </a:ext>
            </a:extLst>
          </p:cNvPr>
          <p:cNvSpPr/>
          <p:nvPr/>
        </p:nvSpPr>
        <p:spPr>
          <a:xfrm>
            <a:off x="1402680" y="5807843"/>
            <a:ext cx="1670595" cy="305615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 defTabSz="457178">
              <a:defRPr/>
            </a:pPr>
            <a:r>
              <a:rPr lang="nb-NO" sz="800" b="1">
                <a:solidFill>
                  <a:srgbClr val="000000"/>
                </a:solidFill>
                <a:latin typeface="Calibri"/>
              </a:rPr>
              <a:t>Innføring FADM </a:t>
            </a:r>
            <a:br>
              <a:rPr lang="nb-NO" sz="800" b="1">
                <a:solidFill>
                  <a:srgbClr val="000000"/>
                </a:solidFill>
                <a:latin typeface="Calibri"/>
              </a:rPr>
            </a:br>
            <a:r>
              <a:rPr lang="nb-NO" sz="800" i="1">
                <a:solidFill>
                  <a:srgbClr val="000000"/>
                </a:solidFill>
                <a:latin typeface="Calibri"/>
              </a:rPr>
              <a:t>Lokalt ansvarlig</a:t>
            </a:r>
            <a:endParaRPr lang="nb-NO" sz="800" i="1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8" name="Avrundet rektangel 82">
            <a:extLst>
              <a:ext uri="{FF2B5EF4-FFF2-40B4-BE49-F238E27FC236}">
                <a16:creationId xmlns:a16="http://schemas.microsoft.com/office/drawing/2014/main" id="{F0AEE61A-E11C-4E98-B2AC-834A105A798F}"/>
              </a:ext>
            </a:extLst>
          </p:cNvPr>
          <p:cNvSpPr/>
          <p:nvPr/>
        </p:nvSpPr>
        <p:spPr>
          <a:xfrm>
            <a:off x="1097384" y="1096701"/>
            <a:ext cx="2116933" cy="482211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78">
              <a:defRPr/>
            </a:pPr>
            <a:r>
              <a:rPr lang="nb-NO" sz="800" b="1">
                <a:solidFill>
                  <a:prstClr val="black"/>
                </a:solidFill>
                <a:latin typeface="Calibri"/>
              </a:rPr>
              <a:t>Fakultet</a:t>
            </a:r>
            <a:endParaRPr lang="nb-NO" sz="800" i="1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0" name="Avrundet rektangel 82">
            <a:extLst>
              <a:ext uri="{FF2B5EF4-FFF2-40B4-BE49-F238E27FC236}">
                <a16:creationId xmlns:a16="http://schemas.microsoft.com/office/drawing/2014/main" id="{9ABBEA8A-B5D0-402F-8356-C7C47DF5965B}"/>
              </a:ext>
            </a:extLst>
          </p:cNvPr>
          <p:cNvSpPr/>
          <p:nvPr/>
        </p:nvSpPr>
        <p:spPr>
          <a:xfrm>
            <a:off x="1260380" y="1200649"/>
            <a:ext cx="2116933" cy="482211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78">
              <a:defRPr/>
            </a:pPr>
            <a:r>
              <a:rPr lang="nb-NO" sz="800" b="1">
                <a:solidFill>
                  <a:prstClr val="black"/>
                </a:solidFill>
                <a:latin typeface="Calibri"/>
              </a:rPr>
              <a:t>Fakultet</a:t>
            </a:r>
            <a:endParaRPr lang="nb-NO" sz="800" i="1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1" name="Avrundet rektangel 82">
            <a:extLst>
              <a:ext uri="{FF2B5EF4-FFF2-40B4-BE49-F238E27FC236}">
                <a16:creationId xmlns:a16="http://schemas.microsoft.com/office/drawing/2014/main" id="{17374877-8714-4976-8158-8C1717DB3366}"/>
              </a:ext>
            </a:extLst>
          </p:cNvPr>
          <p:cNvSpPr/>
          <p:nvPr/>
        </p:nvSpPr>
        <p:spPr>
          <a:xfrm>
            <a:off x="1423376" y="1304599"/>
            <a:ext cx="2116933" cy="482211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78">
              <a:defRPr/>
            </a:pPr>
            <a:r>
              <a:rPr lang="nb-NO" sz="1100" b="1">
                <a:solidFill>
                  <a:prstClr val="black"/>
                </a:solidFill>
                <a:latin typeface="Calibri"/>
              </a:rPr>
              <a:t>Fakultet/enheter</a:t>
            </a:r>
            <a:endParaRPr lang="nb-NO" sz="1100" i="1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48BA06B-83A7-426C-8500-33A60CE99A20}"/>
              </a:ext>
            </a:extLst>
          </p:cNvPr>
          <p:cNvSpPr/>
          <p:nvPr/>
        </p:nvSpPr>
        <p:spPr>
          <a:xfrm>
            <a:off x="3712664" y="3594825"/>
            <a:ext cx="3877667" cy="435007"/>
          </a:xfrm>
          <a:prstGeom prst="rect">
            <a:avLst/>
          </a:prstGeom>
          <a:noFill/>
          <a:ln w="2857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45720" rIns="36000" bIns="45720" rtlCol="0" anchor="ctr"/>
          <a:lstStyle/>
          <a:p>
            <a:pPr algn="ctr" defTabSz="40004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b-NO" sz="900" b="1">
                <a:solidFill>
                  <a:srgbClr val="FFFFFF"/>
                </a:solidFill>
                <a:latin typeface="Arial" panose="020B0604020202020204"/>
              </a:rPr>
              <a:t>Prosjektkontor: </a:t>
            </a:r>
            <a:r>
              <a:rPr lang="nb-NO" sz="900">
                <a:solidFill>
                  <a:srgbClr val="FFFFFF"/>
                </a:solidFill>
                <a:latin typeface="Arial" panose="020B0604020202020204"/>
              </a:rPr>
              <a:t>Tore Hugubakken, Merete Aagesen</a:t>
            </a:r>
            <a:endParaRPr lang="nb-NO" sz="900">
              <a:solidFill>
                <a:srgbClr val="FFFFFF"/>
              </a:solidFill>
              <a:latin typeface="Arial" panose="020B0604020202020204"/>
              <a:cs typeface="Calibri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33B1980B-9E8D-4F32-9A69-D6D40B2BD731}"/>
              </a:ext>
            </a:extLst>
          </p:cNvPr>
          <p:cNvSpPr/>
          <p:nvPr/>
        </p:nvSpPr>
        <p:spPr>
          <a:xfrm>
            <a:off x="3712664" y="2849835"/>
            <a:ext cx="3877667" cy="463403"/>
          </a:xfrm>
          <a:prstGeom prst="rect">
            <a:avLst/>
          </a:prstGeom>
          <a:noFill/>
          <a:ln w="2857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45720" rIns="36000" bIns="45720" rtlCol="0" anchor="ctr"/>
          <a:lstStyle/>
          <a:p>
            <a:pPr algn="ctr" defTabSz="40004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b-NO" sz="900" b="1">
                <a:solidFill>
                  <a:srgbClr val="FFFFFF"/>
                </a:solidFill>
                <a:latin typeface="Arial" panose="020B0604020202020204"/>
              </a:rPr>
              <a:t>Prosjektleder: </a:t>
            </a:r>
            <a:r>
              <a:rPr lang="nb-NO" sz="900">
                <a:solidFill>
                  <a:srgbClr val="FFFFFF"/>
                </a:solidFill>
                <a:latin typeface="Arial" panose="020B0604020202020204"/>
              </a:rPr>
              <a:t>Jens Petter Nygård</a:t>
            </a:r>
            <a:endParaRPr lang="nb-NO" sz="7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E69A5A98-B95C-4058-81A3-2C2F5BDD5025}"/>
              </a:ext>
            </a:extLst>
          </p:cNvPr>
          <p:cNvSpPr txBox="1"/>
          <p:nvPr/>
        </p:nvSpPr>
        <p:spPr>
          <a:xfrm>
            <a:off x="824995" y="2137969"/>
            <a:ext cx="28259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400">
                <a:solidFill>
                  <a:srgbClr val="000000"/>
                </a:solidFill>
                <a:latin typeface="Arial" panose="020B0604020202020204"/>
              </a:rPr>
              <a:t>Lokale Innføringer</a:t>
            </a:r>
          </a:p>
        </p:txBody>
      </p:sp>
      <p:sp>
        <p:nvSpPr>
          <p:cNvPr id="68" name="Avrundet rektangel 50">
            <a:extLst>
              <a:ext uri="{FF2B5EF4-FFF2-40B4-BE49-F238E27FC236}">
                <a16:creationId xmlns:a16="http://schemas.microsoft.com/office/drawing/2014/main" id="{1908C924-4F53-4754-A6E5-6A0223A175CD}"/>
              </a:ext>
            </a:extLst>
          </p:cNvPr>
          <p:cNvSpPr/>
          <p:nvPr/>
        </p:nvSpPr>
        <p:spPr>
          <a:xfrm>
            <a:off x="10047878" y="1348254"/>
            <a:ext cx="1986113" cy="251684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78"/>
            <a:r>
              <a:rPr lang="nb-NO" sz="1100" b="1">
                <a:solidFill>
                  <a:prstClr val="black"/>
                </a:solidFill>
                <a:latin typeface="Calibri"/>
              </a:rPr>
              <a:t>BOTT Nasjonalprosjektet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8118C189-9625-45AF-AB28-1FB354A7E1FB}"/>
              </a:ext>
            </a:extLst>
          </p:cNvPr>
          <p:cNvSpPr txBox="1"/>
          <p:nvPr/>
        </p:nvSpPr>
        <p:spPr>
          <a:xfrm>
            <a:off x="5234648" y="2081245"/>
            <a:ext cx="2825963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609585"/>
            <a:r>
              <a:rPr lang="nb-NO" sz="1400" b="1">
                <a:solidFill>
                  <a:srgbClr val="FFFFFF"/>
                </a:solidFill>
                <a:latin typeface="Arial" panose="020B0604020202020204"/>
              </a:rPr>
              <a:t>Prosjekt: BOTT ØL Innføring</a:t>
            </a:r>
          </a:p>
        </p:txBody>
      </p:sp>
      <p:sp>
        <p:nvSpPr>
          <p:cNvPr id="73" name="Arrow: Right 72">
            <a:extLst>
              <a:ext uri="{FF2B5EF4-FFF2-40B4-BE49-F238E27FC236}">
                <a16:creationId xmlns:a16="http://schemas.microsoft.com/office/drawing/2014/main" id="{D85A1F70-CC76-4E34-AB00-4AC1E5881904}"/>
              </a:ext>
            </a:extLst>
          </p:cNvPr>
          <p:cNvSpPr/>
          <p:nvPr/>
        </p:nvSpPr>
        <p:spPr bwMode="auto">
          <a:xfrm>
            <a:off x="3945439" y="1446071"/>
            <a:ext cx="1095388" cy="227555"/>
          </a:xfrm>
          <a:prstGeom prst="rightArrow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vert="horz" wrap="square" lIns="121447" tIns="60723" rIns="121447" bIns="60723" numCol="1" rtlCol="0" anchor="t" anchorCtr="0" compatLnSpc="1">
            <a:prstTxWarp prst="textNoShape">
              <a:avLst/>
            </a:prstTxWarp>
          </a:bodyPr>
          <a:lstStyle/>
          <a:p>
            <a:pPr algn="ctr" defTabSz="609585"/>
            <a:endParaRPr lang="nb-NO" sz="319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5AE6F3B9-E9A3-413B-BF81-3D3BB194BB39}"/>
              </a:ext>
            </a:extLst>
          </p:cNvPr>
          <p:cNvSpPr txBox="1"/>
          <p:nvPr/>
        </p:nvSpPr>
        <p:spPr>
          <a:xfrm>
            <a:off x="9989747" y="2168311"/>
            <a:ext cx="23123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400">
                <a:solidFill>
                  <a:srgbClr val="000000"/>
                </a:solidFill>
                <a:latin typeface="Arial" panose="020B0604020202020204"/>
              </a:rPr>
              <a:t>Operative prosesseiere</a:t>
            </a:r>
          </a:p>
        </p:txBody>
      </p:sp>
      <p:sp>
        <p:nvSpPr>
          <p:cNvPr id="79" name="Avrundet rektangel 82">
            <a:extLst>
              <a:ext uri="{FF2B5EF4-FFF2-40B4-BE49-F238E27FC236}">
                <a16:creationId xmlns:a16="http://schemas.microsoft.com/office/drawing/2014/main" id="{FEC28321-E726-4983-93FC-45BE9D8E39C1}"/>
              </a:ext>
            </a:extLst>
          </p:cNvPr>
          <p:cNvSpPr/>
          <p:nvPr/>
        </p:nvSpPr>
        <p:spPr>
          <a:xfrm>
            <a:off x="10238763" y="2616602"/>
            <a:ext cx="1670595" cy="305615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78">
              <a:defRPr/>
            </a:pPr>
            <a:r>
              <a:rPr lang="nb-NO" sz="800" b="1">
                <a:solidFill>
                  <a:prstClr val="black"/>
                </a:solidFill>
                <a:latin typeface="Calibri"/>
              </a:rPr>
              <a:t>Økonomiavdelingen</a:t>
            </a:r>
            <a:endParaRPr lang="nb-NO" sz="800" i="1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1" name="Avrundet rektangel 82">
            <a:extLst>
              <a:ext uri="{FF2B5EF4-FFF2-40B4-BE49-F238E27FC236}">
                <a16:creationId xmlns:a16="http://schemas.microsoft.com/office/drawing/2014/main" id="{096B1029-E4F3-43A5-8E18-ACCFF2EB93C4}"/>
              </a:ext>
            </a:extLst>
          </p:cNvPr>
          <p:cNvSpPr/>
          <p:nvPr/>
        </p:nvSpPr>
        <p:spPr>
          <a:xfrm>
            <a:off x="10238761" y="3013607"/>
            <a:ext cx="1670595" cy="305615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78">
              <a:defRPr/>
            </a:pPr>
            <a:r>
              <a:rPr lang="nb-NO" sz="800" b="1">
                <a:solidFill>
                  <a:prstClr val="black"/>
                </a:solidFill>
                <a:latin typeface="Calibri"/>
              </a:rPr>
              <a:t>HR- og HMS-avdelingen</a:t>
            </a:r>
            <a:endParaRPr lang="nb-NO" sz="800" i="1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2" name="Avrundet rektangel 82">
            <a:extLst>
              <a:ext uri="{FF2B5EF4-FFF2-40B4-BE49-F238E27FC236}">
                <a16:creationId xmlns:a16="http://schemas.microsoft.com/office/drawing/2014/main" id="{E56955B8-F44F-49BD-BF1C-373F947EC846}"/>
              </a:ext>
            </a:extLst>
          </p:cNvPr>
          <p:cNvSpPr/>
          <p:nvPr/>
        </p:nvSpPr>
        <p:spPr>
          <a:xfrm>
            <a:off x="10238761" y="3410613"/>
            <a:ext cx="1670595" cy="305615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78">
              <a:defRPr/>
            </a:pPr>
            <a:r>
              <a:rPr lang="nb-NO" sz="800" b="1">
                <a:solidFill>
                  <a:prstClr val="black"/>
                </a:solidFill>
                <a:latin typeface="Calibri"/>
              </a:rPr>
              <a:t>Virksomhetsstyring</a:t>
            </a:r>
            <a:endParaRPr lang="nb-NO" sz="800" i="1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3" name="Avrundet rektangel 82">
            <a:extLst>
              <a:ext uri="{FF2B5EF4-FFF2-40B4-BE49-F238E27FC236}">
                <a16:creationId xmlns:a16="http://schemas.microsoft.com/office/drawing/2014/main" id="{123B2B3C-A78A-4760-A6ED-E982B1855CC4}"/>
              </a:ext>
            </a:extLst>
          </p:cNvPr>
          <p:cNvSpPr/>
          <p:nvPr/>
        </p:nvSpPr>
        <p:spPr>
          <a:xfrm>
            <a:off x="10238760" y="3807617"/>
            <a:ext cx="1670595" cy="305615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78">
              <a:defRPr/>
            </a:pPr>
            <a:r>
              <a:rPr lang="nb-NO" sz="800" b="1">
                <a:solidFill>
                  <a:prstClr val="black"/>
                </a:solidFill>
                <a:latin typeface="Calibri"/>
              </a:rPr>
              <a:t>IT-avdelingen</a:t>
            </a:r>
            <a:endParaRPr lang="nb-NO" sz="800" i="1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4" name="Avrundet rektangel 35">
            <a:extLst>
              <a:ext uri="{FF2B5EF4-FFF2-40B4-BE49-F238E27FC236}">
                <a16:creationId xmlns:a16="http://schemas.microsoft.com/office/drawing/2014/main" id="{F0A366FB-1D57-4ECA-A39D-BCEC8FC37F64}"/>
              </a:ext>
            </a:extLst>
          </p:cNvPr>
          <p:cNvSpPr/>
          <p:nvPr/>
        </p:nvSpPr>
        <p:spPr>
          <a:xfrm>
            <a:off x="10038890" y="4404753"/>
            <a:ext cx="2032311" cy="1884019"/>
          </a:xfrm>
          <a:prstGeom prst="roundRect">
            <a:avLst>
              <a:gd name="adj" fmla="val 6716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457178"/>
            <a:endParaRPr lang="nb-NO" sz="1000" i="1">
              <a:solidFill>
                <a:prstClr val="white"/>
              </a:solidFill>
              <a:latin typeface="Calibri"/>
            </a:endParaRPr>
          </a:p>
          <a:p>
            <a:pPr algn="ctr" defTabSz="457178"/>
            <a:endParaRPr lang="nb-NO" sz="1000" i="1">
              <a:solidFill>
                <a:prstClr val="white"/>
              </a:solidFill>
              <a:latin typeface="Calibri"/>
            </a:endParaRPr>
          </a:p>
          <a:p>
            <a:pPr algn="ctr" defTabSz="457178"/>
            <a:endParaRPr lang="nb-NO" sz="1000" i="1">
              <a:solidFill>
                <a:prstClr val="white"/>
              </a:solidFill>
              <a:latin typeface="Calibri"/>
            </a:endParaRPr>
          </a:p>
          <a:p>
            <a:pPr algn="ctr" defTabSz="457178"/>
            <a:endParaRPr lang="nb-NO" sz="1000" i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59FFE1E1-A0F2-40E1-82C1-D7650CBB8709}"/>
              </a:ext>
            </a:extLst>
          </p:cNvPr>
          <p:cNvSpPr txBox="1"/>
          <p:nvPr/>
        </p:nvSpPr>
        <p:spPr>
          <a:xfrm>
            <a:off x="9632620" y="4464166"/>
            <a:ext cx="28259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400">
                <a:solidFill>
                  <a:srgbClr val="000000"/>
                </a:solidFill>
                <a:latin typeface="Arial" panose="020B0604020202020204"/>
              </a:rPr>
              <a:t>System</a:t>
            </a:r>
          </a:p>
        </p:txBody>
      </p:sp>
      <p:sp>
        <p:nvSpPr>
          <p:cNvPr id="86" name="Avrundet rektangel 82">
            <a:extLst>
              <a:ext uri="{FF2B5EF4-FFF2-40B4-BE49-F238E27FC236}">
                <a16:creationId xmlns:a16="http://schemas.microsoft.com/office/drawing/2014/main" id="{8F088D34-3E65-49B3-A4C2-BE5D5ED2A318}"/>
              </a:ext>
            </a:extLst>
          </p:cNvPr>
          <p:cNvSpPr/>
          <p:nvPr/>
        </p:nvSpPr>
        <p:spPr>
          <a:xfrm>
            <a:off x="10220553" y="4912153"/>
            <a:ext cx="1670595" cy="305615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78">
              <a:defRPr/>
            </a:pPr>
            <a:r>
              <a:rPr lang="nb-NO" sz="800" b="1">
                <a:solidFill>
                  <a:prstClr val="black"/>
                </a:solidFill>
                <a:latin typeface="Calibri"/>
              </a:rPr>
              <a:t>BEVISST</a:t>
            </a:r>
            <a:endParaRPr lang="nb-NO" sz="8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3C1716E2-AD28-40A1-928F-3D1C53A4D71D}"/>
              </a:ext>
            </a:extLst>
          </p:cNvPr>
          <p:cNvSpPr/>
          <p:nvPr/>
        </p:nvSpPr>
        <p:spPr>
          <a:xfrm>
            <a:off x="77876" y="426340"/>
            <a:ext cx="6272883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/>
            <a:r>
              <a:rPr lang="nb-NO" sz="1467" i="1">
                <a:solidFill>
                  <a:srgbClr val="000000"/>
                </a:solidFill>
                <a:latin typeface="Arial" panose="020B0604020202020204"/>
              </a:rPr>
              <a:t>Prosjektorganisering og plassering i organisasjonen</a:t>
            </a:r>
            <a:endParaRPr lang="nb-NO" sz="1467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31" name="Avrundet rektangel 50">
            <a:extLst>
              <a:ext uri="{FF2B5EF4-FFF2-40B4-BE49-F238E27FC236}">
                <a16:creationId xmlns:a16="http://schemas.microsoft.com/office/drawing/2014/main" id="{F6CDCA33-FBDF-44EF-B202-71310537C203}"/>
              </a:ext>
            </a:extLst>
          </p:cNvPr>
          <p:cNvSpPr/>
          <p:nvPr/>
        </p:nvSpPr>
        <p:spPr>
          <a:xfrm>
            <a:off x="10047878" y="1663707"/>
            <a:ext cx="1986113" cy="251684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78"/>
            <a:r>
              <a:rPr lang="nb-NO" sz="1100" b="1">
                <a:solidFill>
                  <a:prstClr val="black"/>
                </a:solidFill>
                <a:latin typeface="Calibri"/>
              </a:rPr>
              <a:t>DFØ</a:t>
            </a:r>
          </a:p>
        </p:txBody>
      </p:sp>
      <p:sp>
        <p:nvSpPr>
          <p:cNvPr id="137" name="Arrow: Right 136">
            <a:extLst>
              <a:ext uri="{FF2B5EF4-FFF2-40B4-BE49-F238E27FC236}">
                <a16:creationId xmlns:a16="http://schemas.microsoft.com/office/drawing/2014/main" id="{F018ED29-24D6-4253-BC26-35966087273F}"/>
              </a:ext>
            </a:extLst>
          </p:cNvPr>
          <p:cNvSpPr/>
          <p:nvPr/>
        </p:nvSpPr>
        <p:spPr bwMode="auto">
          <a:xfrm rot="10800000">
            <a:off x="3714937" y="1309987"/>
            <a:ext cx="1086423" cy="218591"/>
          </a:xfrm>
          <a:prstGeom prst="rightArrow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vert="horz" wrap="square" lIns="121447" tIns="60723" rIns="121447" bIns="60723" numCol="1" rtlCol="0" anchor="t" anchorCtr="0" compatLnSpc="1">
            <a:prstTxWarp prst="textNoShape">
              <a:avLst/>
            </a:prstTxWarp>
          </a:bodyPr>
          <a:lstStyle/>
          <a:p>
            <a:pPr algn="ctr" defTabSz="609585"/>
            <a:endParaRPr lang="nb-NO" sz="319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39" name="Arrow: Right 138">
            <a:extLst>
              <a:ext uri="{FF2B5EF4-FFF2-40B4-BE49-F238E27FC236}">
                <a16:creationId xmlns:a16="http://schemas.microsoft.com/office/drawing/2014/main" id="{EA85643E-5C7E-40B0-919E-43D82B1AF7F3}"/>
              </a:ext>
            </a:extLst>
          </p:cNvPr>
          <p:cNvSpPr/>
          <p:nvPr/>
        </p:nvSpPr>
        <p:spPr bwMode="auto">
          <a:xfrm>
            <a:off x="9687675" y="3111896"/>
            <a:ext cx="432000" cy="245483"/>
          </a:xfrm>
          <a:prstGeom prst="rightArrow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vert="horz" wrap="square" lIns="121447" tIns="60723" rIns="121447" bIns="60723" numCol="1" rtlCol="0" anchor="t" anchorCtr="0" compatLnSpc="1">
            <a:prstTxWarp prst="textNoShape">
              <a:avLst/>
            </a:prstTxWarp>
          </a:bodyPr>
          <a:lstStyle/>
          <a:p>
            <a:pPr algn="ctr" defTabSz="609585"/>
            <a:endParaRPr lang="nb-NO" sz="319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40" name="Arrow: Right 139">
            <a:extLst>
              <a:ext uri="{FF2B5EF4-FFF2-40B4-BE49-F238E27FC236}">
                <a16:creationId xmlns:a16="http://schemas.microsoft.com/office/drawing/2014/main" id="{02CA853E-D7F3-4D29-9A8E-40B708B0F29E}"/>
              </a:ext>
            </a:extLst>
          </p:cNvPr>
          <p:cNvSpPr/>
          <p:nvPr/>
        </p:nvSpPr>
        <p:spPr bwMode="auto">
          <a:xfrm rot="10800000">
            <a:off x="9663357" y="3208896"/>
            <a:ext cx="432000" cy="245483"/>
          </a:xfrm>
          <a:prstGeom prst="rightArrow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vert="horz" wrap="square" lIns="121447" tIns="60723" rIns="121447" bIns="60723" numCol="1" rtlCol="0" anchor="t" anchorCtr="0" compatLnSpc="1">
            <a:prstTxWarp prst="textNoShape">
              <a:avLst/>
            </a:prstTxWarp>
          </a:bodyPr>
          <a:lstStyle/>
          <a:p>
            <a:pPr algn="ctr" defTabSz="609585"/>
            <a:endParaRPr lang="nb-NO" sz="319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41" name="Arrow: Right 140">
            <a:extLst>
              <a:ext uri="{FF2B5EF4-FFF2-40B4-BE49-F238E27FC236}">
                <a16:creationId xmlns:a16="http://schemas.microsoft.com/office/drawing/2014/main" id="{D1BD1B55-31D5-468B-A0A4-E7E58DEF4D1E}"/>
              </a:ext>
            </a:extLst>
          </p:cNvPr>
          <p:cNvSpPr/>
          <p:nvPr/>
        </p:nvSpPr>
        <p:spPr bwMode="auto">
          <a:xfrm>
            <a:off x="9726691" y="4937715"/>
            <a:ext cx="432000" cy="245483"/>
          </a:xfrm>
          <a:prstGeom prst="rightArrow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vert="horz" wrap="square" lIns="121447" tIns="60723" rIns="121447" bIns="60723" numCol="1" rtlCol="0" anchor="t" anchorCtr="0" compatLnSpc="1">
            <a:prstTxWarp prst="textNoShape">
              <a:avLst/>
            </a:prstTxWarp>
          </a:bodyPr>
          <a:lstStyle/>
          <a:p>
            <a:pPr algn="ctr" defTabSz="609585"/>
            <a:endParaRPr lang="nb-NO" sz="319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42" name="Arrow: Right 141">
            <a:extLst>
              <a:ext uri="{FF2B5EF4-FFF2-40B4-BE49-F238E27FC236}">
                <a16:creationId xmlns:a16="http://schemas.microsoft.com/office/drawing/2014/main" id="{009ACD5F-4A6C-4A2D-9DD2-D75EDC85FD3B}"/>
              </a:ext>
            </a:extLst>
          </p:cNvPr>
          <p:cNvSpPr/>
          <p:nvPr/>
        </p:nvSpPr>
        <p:spPr bwMode="auto">
          <a:xfrm rot="10800000">
            <a:off x="9702375" y="5034715"/>
            <a:ext cx="432000" cy="245483"/>
          </a:xfrm>
          <a:prstGeom prst="rightArrow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vert="horz" wrap="square" lIns="121447" tIns="60723" rIns="121447" bIns="60723" numCol="1" rtlCol="0" anchor="t" anchorCtr="0" compatLnSpc="1">
            <a:prstTxWarp prst="textNoShape">
              <a:avLst/>
            </a:prstTxWarp>
          </a:bodyPr>
          <a:lstStyle/>
          <a:p>
            <a:pPr algn="ctr" defTabSz="609585"/>
            <a:endParaRPr lang="nb-NO" sz="319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60" name="Arrow: Right 72">
            <a:extLst>
              <a:ext uri="{FF2B5EF4-FFF2-40B4-BE49-F238E27FC236}">
                <a16:creationId xmlns:a16="http://schemas.microsoft.com/office/drawing/2014/main" id="{4AE23580-1CAB-4258-ACE4-51E9C51EEE5F}"/>
              </a:ext>
            </a:extLst>
          </p:cNvPr>
          <p:cNvSpPr/>
          <p:nvPr/>
        </p:nvSpPr>
        <p:spPr bwMode="auto">
          <a:xfrm>
            <a:off x="3192403" y="4084564"/>
            <a:ext cx="432000" cy="245483"/>
          </a:xfrm>
          <a:prstGeom prst="rightArrow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vert="horz" wrap="square" lIns="121447" tIns="60723" rIns="121447" bIns="60723" numCol="1" rtlCol="0" anchor="t" anchorCtr="0" compatLnSpc="1">
            <a:prstTxWarp prst="textNoShape">
              <a:avLst/>
            </a:prstTxWarp>
          </a:bodyPr>
          <a:lstStyle/>
          <a:p>
            <a:pPr algn="ctr" defTabSz="609585"/>
            <a:endParaRPr lang="nb-NO" sz="319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62" name="Arrow: Right 136">
            <a:extLst>
              <a:ext uri="{FF2B5EF4-FFF2-40B4-BE49-F238E27FC236}">
                <a16:creationId xmlns:a16="http://schemas.microsoft.com/office/drawing/2014/main" id="{FBC22BF2-766C-49DB-AD1D-A9A3F60275D8}"/>
              </a:ext>
            </a:extLst>
          </p:cNvPr>
          <p:cNvSpPr/>
          <p:nvPr/>
        </p:nvSpPr>
        <p:spPr bwMode="auto">
          <a:xfrm rot="10800000">
            <a:off x="3168087" y="4181564"/>
            <a:ext cx="432000" cy="245483"/>
          </a:xfrm>
          <a:prstGeom prst="rightArrow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vert="horz" wrap="square" lIns="121447" tIns="60723" rIns="121447" bIns="60723" numCol="1" rtlCol="0" anchor="t" anchorCtr="0" compatLnSpc="1">
            <a:prstTxWarp prst="textNoShape">
              <a:avLst/>
            </a:prstTxWarp>
          </a:bodyPr>
          <a:lstStyle/>
          <a:p>
            <a:pPr algn="ctr" defTabSz="609585"/>
            <a:endParaRPr lang="nb-NO" sz="319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B653FA16-18EB-435D-B51D-31FD6ACDA933}"/>
              </a:ext>
            </a:extLst>
          </p:cNvPr>
          <p:cNvSpPr/>
          <p:nvPr/>
        </p:nvSpPr>
        <p:spPr>
          <a:xfrm>
            <a:off x="3712664" y="4311419"/>
            <a:ext cx="3877667" cy="435007"/>
          </a:xfrm>
          <a:prstGeom prst="rect">
            <a:avLst/>
          </a:prstGeom>
          <a:noFill/>
          <a:ln w="2857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45720" rIns="36000" bIns="45720" rtlCol="0" anchor="ctr"/>
          <a:lstStyle/>
          <a:p>
            <a:pPr algn="ctr" defTabSz="40004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b-NO" sz="900" b="1">
                <a:solidFill>
                  <a:srgbClr val="FFFFFF"/>
                </a:solidFill>
                <a:latin typeface="Arial" panose="020B0604020202020204"/>
              </a:rPr>
              <a:t>P1) Endringsledelse og org. Forberedelse: </a:t>
            </a:r>
            <a:r>
              <a:rPr lang="nb-NO" sz="900">
                <a:solidFill>
                  <a:srgbClr val="FFFFFF"/>
                </a:solidFill>
                <a:latin typeface="Arial" panose="020B0604020202020204"/>
              </a:rPr>
              <a:t>Linn Rasch Aune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7B0DED90-A32E-428E-880C-3F7BFF9B830E}"/>
              </a:ext>
            </a:extLst>
          </p:cNvPr>
          <p:cNvSpPr/>
          <p:nvPr/>
        </p:nvSpPr>
        <p:spPr>
          <a:xfrm>
            <a:off x="3712664" y="5028013"/>
            <a:ext cx="3877667" cy="435007"/>
          </a:xfrm>
          <a:prstGeom prst="rect">
            <a:avLst/>
          </a:prstGeom>
          <a:noFill/>
          <a:ln w="2857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45720" rIns="36000" bIns="45720" rtlCol="0" anchor="ctr"/>
          <a:lstStyle/>
          <a:p>
            <a:pPr algn="ctr" defTabSz="40004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b-NO" sz="900" b="1">
                <a:solidFill>
                  <a:srgbClr val="FFFFFF"/>
                </a:solidFill>
                <a:latin typeface="Arial" panose="020B0604020202020204"/>
              </a:rPr>
              <a:t>P2) Prosess: </a:t>
            </a:r>
            <a:r>
              <a:rPr lang="nb-NO" sz="900">
                <a:solidFill>
                  <a:srgbClr val="FFFFFF"/>
                </a:solidFill>
                <a:latin typeface="Arial" panose="020B0604020202020204"/>
              </a:rPr>
              <a:t>Gry-Lene Johansen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D08016A9-0E0A-4192-99C4-7CBBC326A4B1}"/>
              </a:ext>
            </a:extLst>
          </p:cNvPr>
          <p:cNvSpPr/>
          <p:nvPr/>
        </p:nvSpPr>
        <p:spPr>
          <a:xfrm>
            <a:off x="3712664" y="5744607"/>
            <a:ext cx="3877667" cy="435007"/>
          </a:xfrm>
          <a:prstGeom prst="rect">
            <a:avLst/>
          </a:prstGeom>
          <a:noFill/>
          <a:ln w="2857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45720" rIns="36000" bIns="45720" rtlCol="0" anchor="ctr"/>
          <a:lstStyle/>
          <a:p>
            <a:pPr algn="ctr" defTabSz="40004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b-NO" sz="867" b="1">
                <a:solidFill>
                  <a:srgbClr val="FFFFFF"/>
                </a:solidFill>
                <a:latin typeface="Arial" panose="020B0604020202020204"/>
                <a:cs typeface="Calibri"/>
              </a:rPr>
              <a:t>P3) System og teknisk innføring: E</a:t>
            </a:r>
            <a:r>
              <a:rPr lang="nb-NO" sz="867">
                <a:solidFill>
                  <a:srgbClr val="FFFFFF"/>
                </a:solidFill>
                <a:latin typeface="Arial" panose="020B0604020202020204"/>
                <a:cs typeface="Calibri"/>
              </a:rPr>
              <a:t>kstern innleie</a:t>
            </a:r>
            <a:endParaRPr lang="nb-NO" sz="900">
              <a:solidFill>
                <a:srgbClr val="FFFFFF"/>
              </a:solidFill>
              <a:latin typeface="Arial" panose="020B0604020202020204"/>
              <a:cs typeface="Calibri"/>
            </a:endParaRPr>
          </a:p>
          <a:p>
            <a:pPr algn="ctr" defTabSz="40004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b-NO" sz="900" b="1">
                <a:solidFill>
                  <a:srgbClr val="FFFFFF"/>
                </a:solidFill>
                <a:latin typeface="Arial" panose="020B0604020202020204"/>
              </a:rPr>
              <a:t>P3.1) Arkitektur, applikasjoner og integrasjoner: </a:t>
            </a:r>
            <a:r>
              <a:rPr lang="nb-NO" sz="900">
                <a:solidFill>
                  <a:srgbClr val="FFFFFF"/>
                </a:solidFill>
                <a:latin typeface="Arial" panose="020B0604020202020204"/>
              </a:rPr>
              <a:t>Hanne Iren Midtun</a:t>
            </a:r>
            <a:r>
              <a:rPr lang="nb-NO" sz="900" b="1">
                <a:solidFill>
                  <a:srgbClr val="FFFFFF"/>
                </a:solidFill>
                <a:latin typeface="Arial" panose="020B0604020202020204"/>
              </a:rPr>
              <a:t> </a:t>
            </a:r>
            <a:br>
              <a:rPr lang="nb-NO" sz="900" b="1">
                <a:solidFill>
                  <a:srgbClr val="FFFFFF"/>
                </a:solidFill>
                <a:latin typeface="Arial" panose="020B0604020202020204"/>
              </a:rPr>
            </a:br>
            <a:r>
              <a:rPr lang="nb-NO" sz="900" b="1">
                <a:solidFill>
                  <a:srgbClr val="FFFFFF"/>
                </a:solidFill>
                <a:latin typeface="Arial" panose="020B0604020202020204"/>
              </a:rPr>
              <a:t>P3.2) Teknisk innføring: </a:t>
            </a:r>
            <a:r>
              <a:rPr lang="nb-NO" sz="900">
                <a:solidFill>
                  <a:srgbClr val="FFFFFF"/>
                </a:solidFill>
                <a:latin typeface="Arial" panose="020B0604020202020204"/>
              </a:rPr>
              <a:t>Hans Martin Øverkil</a:t>
            </a:r>
            <a:endParaRPr lang="nb-NO" sz="900">
              <a:solidFill>
                <a:srgbClr val="FFFFFF"/>
              </a:solidFill>
              <a:latin typeface="Arial" panose="020B0604020202020204"/>
              <a:cs typeface="Calibri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D5A9ADC-9414-4B5E-888D-CB59D1DF3D6D}"/>
              </a:ext>
            </a:extLst>
          </p:cNvPr>
          <p:cNvGraphicFramePr>
            <a:graphicFrameLocks noGrp="1"/>
          </p:cNvGraphicFramePr>
          <p:nvPr/>
        </p:nvGraphicFramePr>
        <p:xfrm>
          <a:off x="8138537" y="2849835"/>
          <a:ext cx="1496129" cy="33226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96129">
                  <a:extLst>
                    <a:ext uri="{9D8B030D-6E8A-4147-A177-3AD203B41FA5}">
                      <a16:colId xmlns:a16="http://schemas.microsoft.com/office/drawing/2014/main" val="2891432425"/>
                    </a:ext>
                  </a:extLst>
                </a:gridCol>
              </a:tblGrid>
              <a:tr h="270959">
                <a:tc>
                  <a:txBody>
                    <a:bodyPr/>
                    <a:lstStyle/>
                    <a:p>
                      <a:pPr algn="l"/>
                      <a:r>
                        <a:rPr lang="nb-NO" sz="1100" b="1" noProof="0">
                          <a:solidFill>
                            <a:srgbClr val="000000"/>
                          </a:solidFill>
                        </a:rPr>
                        <a:t>Prosjektledelse</a:t>
                      </a:r>
                    </a:p>
                  </a:txBody>
                  <a:tcPr anchor="ctr">
                    <a:solidFill>
                      <a:srgbClr val="92D4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75020"/>
                  </a:ext>
                </a:extLst>
              </a:tr>
              <a:tr h="383380">
                <a:tc>
                  <a:txBody>
                    <a:bodyPr/>
                    <a:lstStyle/>
                    <a:p>
                      <a:pPr algn="l"/>
                      <a:r>
                        <a:rPr lang="nb-NO" sz="1100" b="1" noProof="0">
                          <a:solidFill>
                            <a:srgbClr val="000000"/>
                          </a:solidFill>
                        </a:rPr>
                        <a:t>Kvalitetshåndtering</a:t>
                      </a:r>
                    </a:p>
                  </a:txBody>
                  <a:tcPr anchor="ctr">
                    <a:solidFill>
                      <a:srgbClr val="C9DD0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2183096"/>
                  </a:ext>
                </a:extLst>
              </a:tr>
              <a:tr h="416560">
                <a:tc>
                  <a:txBody>
                    <a:bodyPr/>
                    <a:lstStyle/>
                    <a:p>
                      <a:pPr algn="l"/>
                      <a:r>
                        <a:rPr lang="nb-NO" sz="1100" b="1" noProof="0">
                          <a:solidFill>
                            <a:srgbClr val="000000"/>
                          </a:solidFill>
                        </a:rPr>
                        <a:t>Prosesser og system</a:t>
                      </a:r>
                    </a:p>
                  </a:txBody>
                  <a:tcPr anchor="ctr">
                    <a:solidFill>
                      <a:srgbClr val="00A1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1761947"/>
                  </a:ext>
                </a:extLst>
              </a:tr>
              <a:tr h="421492">
                <a:tc>
                  <a:txBody>
                    <a:bodyPr/>
                    <a:lstStyle/>
                    <a:p>
                      <a:pPr algn="l"/>
                      <a:r>
                        <a:rPr lang="nb-NO" sz="1100" b="1" noProof="0">
                          <a:solidFill>
                            <a:srgbClr val="000000"/>
                          </a:solidFill>
                        </a:rPr>
                        <a:t>Endringsledelse og organisasjon</a:t>
                      </a:r>
                    </a:p>
                  </a:txBody>
                  <a:tcPr anchor="ctr">
                    <a:solidFill>
                      <a:srgbClr val="3C8A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2120560"/>
                  </a:ext>
                </a:extLst>
              </a:tr>
              <a:tr h="421492">
                <a:tc>
                  <a:txBody>
                    <a:bodyPr/>
                    <a:lstStyle/>
                    <a:p>
                      <a:pPr algn="l"/>
                      <a:r>
                        <a:rPr lang="nb-NO" sz="1100" b="1" noProof="0">
                          <a:solidFill>
                            <a:srgbClr val="000000"/>
                          </a:solidFill>
                        </a:rPr>
                        <a:t>Rapportering</a:t>
                      </a:r>
                      <a:r>
                        <a:rPr lang="nb-NO" sz="1100" b="1" baseline="0" noProof="0">
                          <a:solidFill>
                            <a:srgbClr val="000000"/>
                          </a:solidFill>
                        </a:rPr>
                        <a:t> og styring</a:t>
                      </a:r>
                      <a:endParaRPr lang="nb-NO" sz="1100" b="1" noProof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solidFill>
                      <a:srgbClr val="4C68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4116488"/>
                  </a:ext>
                </a:extLst>
              </a:tr>
              <a:tr h="421492">
                <a:tc>
                  <a:txBody>
                    <a:bodyPr/>
                    <a:lstStyle/>
                    <a:p>
                      <a:pPr algn="l"/>
                      <a:r>
                        <a:rPr lang="nb-NO" sz="1100" b="1" noProof="0">
                          <a:solidFill>
                            <a:srgbClr val="000000"/>
                          </a:solidFill>
                        </a:rPr>
                        <a:t>Teknologi og integrasjoner</a:t>
                      </a:r>
                    </a:p>
                  </a:txBody>
                  <a:tcPr anchor="ctr">
                    <a:solidFill>
                      <a:srgbClr val="8093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0196439"/>
                  </a:ext>
                </a:extLst>
              </a:tr>
              <a:tr h="383380">
                <a:tc>
                  <a:txBody>
                    <a:bodyPr/>
                    <a:lstStyle/>
                    <a:p>
                      <a:pPr algn="l"/>
                      <a:r>
                        <a:rPr lang="nb-NO" sz="1100" b="1" noProof="0">
                          <a:solidFill>
                            <a:srgbClr val="000000"/>
                          </a:solidFill>
                        </a:rPr>
                        <a:t>Produksjonssetting</a:t>
                      </a:r>
                    </a:p>
                  </a:txBody>
                  <a:tcPr anchor="ctr">
                    <a:solidFill>
                      <a:srgbClr val="72C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7820228"/>
                  </a:ext>
                </a:extLst>
              </a:tr>
              <a:tr h="270959">
                <a:tc>
                  <a:txBody>
                    <a:bodyPr/>
                    <a:lstStyle/>
                    <a:p>
                      <a:pPr algn="l"/>
                      <a:r>
                        <a:rPr lang="nb-NO" sz="1100" b="1" noProof="0">
                          <a:solidFill>
                            <a:srgbClr val="000000"/>
                          </a:solidFill>
                        </a:rPr>
                        <a:t>Verdi</a:t>
                      </a:r>
                    </a:p>
                  </a:txBody>
                  <a:tcPr anchor="ctr">
                    <a:solidFill>
                      <a:srgbClr val="76AD6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0334995"/>
                  </a:ext>
                </a:extLst>
              </a:tr>
              <a:tr h="307087">
                <a:tc>
                  <a:txBody>
                    <a:bodyPr/>
                    <a:lstStyle/>
                    <a:p>
                      <a:pPr algn="l"/>
                      <a:r>
                        <a:rPr lang="nb-NO" sz="1100" b="1" noProof="0">
                          <a:solidFill>
                            <a:srgbClr val="000000"/>
                          </a:solidFill>
                        </a:rPr>
                        <a:t>Lovpålagte krav</a:t>
                      </a:r>
                    </a:p>
                  </a:txBody>
                  <a:tcPr anchor="ctr">
                    <a:solidFill>
                      <a:srgbClr val="4CBD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7950869"/>
                  </a:ext>
                </a:extLst>
              </a:tr>
            </a:tbl>
          </a:graphicData>
        </a:graphic>
      </p:graphicFrame>
      <p:sp>
        <p:nvSpPr>
          <p:cNvPr id="88" name="TextBox 87">
            <a:extLst>
              <a:ext uri="{FF2B5EF4-FFF2-40B4-BE49-F238E27FC236}">
                <a16:creationId xmlns:a16="http://schemas.microsoft.com/office/drawing/2014/main" id="{C827E348-C38C-444D-92DA-38648D0B8BCC}"/>
              </a:ext>
            </a:extLst>
          </p:cNvPr>
          <p:cNvSpPr txBox="1"/>
          <p:nvPr/>
        </p:nvSpPr>
        <p:spPr>
          <a:xfrm>
            <a:off x="4685912" y="2483626"/>
            <a:ext cx="20149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200" b="1">
                <a:solidFill>
                  <a:srgbClr val="FFFFFF"/>
                </a:solidFill>
                <a:latin typeface="Arial" panose="020B0604020202020204"/>
              </a:rPr>
              <a:t>Prosjektorganisering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418E20EB-B84C-4957-AA51-9DC080D2AAE0}"/>
              </a:ext>
            </a:extLst>
          </p:cNvPr>
          <p:cNvSpPr txBox="1"/>
          <p:nvPr/>
        </p:nvSpPr>
        <p:spPr>
          <a:xfrm>
            <a:off x="7793104" y="2490457"/>
            <a:ext cx="20149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200" b="1">
                <a:solidFill>
                  <a:srgbClr val="FFFFFF"/>
                </a:solidFill>
                <a:latin typeface="Arial" panose="020B0604020202020204"/>
              </a:rPr>
              <a:t>Områder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39488BE-AB5C-442D-A628-C12FFCCE98D9}"/>
              </a:ext>
            </a:extLst>
          </p:cNvPr>
          <p:cNvCxnSpPr>
            <a:cxnSpLocks/>
          </p:cNvCxnSpPr>
          <p:nvPr/>
        </p:nvCxnSpPr>
        <p:spPr>
          <a:xfrm>
            <a:off x="7671816" y="2849835"/>
            <a:ext cx="0" cy="3329779"/>
          </a:xfrm>
          <a:prstGeom prst="line">
            <a:avLst/>
          </a:prstGeom>
          <a:ln w="381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2AE32298-4245-4FC9-9C2D-B5DB6049FFAC}"/>
              </a:ext>
            </a:extLst>
          </p:cNvPr>
          <p:cNvCxnSpPr>
            <a:cxnSpLocks/>
          </p:cNvCxnSpPr>
          <p:nvPr/>
        </p:nvCxnSpPr>
        <p:spPr>
          <a:xfrm>
            <a:off x="8057563" y="2849835"/>
            <a:ext cx="0" cy="3329779"/>
          </a:xfrm>
          <a:prstGeom prst="line">
            <a:avLst/>
          </a:prstGeom>
          <a:ln w="381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0" name="Arrow: Right 72">
            <a:extLst>
              <a:ext uri="{FF2B5EF4-FFF2-40B4-BE49-F238E27FC236}">
                <a16:creationId xmlns:a16="http://schemas.microsoft.com/office/drawing/2014/main" id="{1C47C0DD-6D97-4B09-87A2-0BDB755DA465}"/>
              </a:ext>
            </a:extLst>
          </p:cNvPr>
          <p:cNvSpPr/>
          <p:nvPr/>
        </p:nvSpPr>
        <p:spPr bwMode="auto">
          <a:xfrm>
            <a:off x="7774567" y="4301463"/>
            <a:ext cx="224388" cy="245483"/>
          </a:xfrm>
          <a:prstGeom prst="rightArrow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vert="horz" wrap="square" lIns="121447" tIns="60723" rIns="121447" bIns="60723" numCol="1" rtlCol="0" anchor="t" anchorCtr="0" compatLnSpc="1">
            <a:prstTxWarp prst="textNoShape">
              <a:avLst/>
            </a:prstTxWarp>
          </a:bodyPr>
          <a:lstStyle/>
          <a:p>
            <a:pPr algn="ctr" defTabSz="609585"/>
            <a:endParaRPr lang="nb-NO" sz="319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71" name="Arrow: Right 136">
            <a:extLst>
              <a:ext uri="{FF2B5EF4-FFF2-40B4-BE49-F238E27FC236}">
                <a16:creationId xmlns:a16="http://schemas.microsoft.com/office/drawing/2014/main" id="{6AD2EA76-4CAA-49A9-9404-CA37B94F7CB7}"/>
              </a:ext>
            </a:extLst>
          </p:cNvPr>
          <p:cNvSpPr/>
          <p:nvPr/>
        </p:nvSpPr>
        <p:spPr bwMode="auto">
          <a:xfrm rot="10800000">
            <a:off x="7750251" y="4461076"/>
            <a:ext cx="224388" cy="245483"/>
          </a:xfrm>
          <a:prstGeom prst="rightArrow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vert="horz" wrap="square" lIns="121447" tIns="60723" rIns="121447" bIns="60723" numCol="1" rtlCol="0" anchor="t" anchorCtr="0" compatLnSpc="1">
            <a:prstTxWarp prst="textNoShape">
              <a:avLst/>
            </a:prstTxWarp>
          </a:bodyPr>
          <a:lstStyle/>
          <a:p>
            <a:pPr algn="ctr" defTabSz="609585"/>
            <a:endParaRPr lang="nb-NO" sz="319">
              <a:solidFill>
                <a:srgbClr val="000000"/>
              </a:solidFill>
              <a:latin typeface="Arial" panose="020B0604020202020204"/>
            </a:endParaRPr>
          </a:p>
        </p:txBody>
      </p:sp>
      <p:cxnSp>
        <p:nvCxnSpPr>
          <p:cNvPr id="66" name="Kobling: vinkel 43">
            <a:extLst>
              <a:ext uri="{FF2B5EF4-FFF2-40B4-BE49-F238E27FC236}">
                <a16:creationId xmlns:a16="http://schemas.microsoft.com/office/drawing/2014/main" id="{018467C6-3810-4BE6-B5B2-EF65EA1253B7}"/>
              </a:ext>
            </a:extLst>
          </p:cNvPr>
          <p:cNvCxnSpPr>
            <a:cxnSpLocks/>
            <a:stCxn id="68" idx="1"/>
          </p:cNvCxnSpPr>
          <p:nvPr/>
        </p:nvCxnSpPr>
        <p:spPr>
          <a:xfrm rot="10800000" flipV="1">
            <a:off x="7974640" y="1474096"/>
            <a:ext cx="2073238" cy="761034"/>
          </a:xfrm>
          <a:prstGeom prst="bentConnector3">
            <a:avLst>
              <a:gd name="adj1" fmla="val 50000"/>
            </a:avLst>
          </a:prstGeom>
          <a:ln>
            <a:prstDash val="sysDash"/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Kobling: vinkel 43">
            <a:extLst>
              <a:ext uri="{FF2B5EF4-FFF2-40B4-BE49-F238E27FC236}">
                <a16:creationId xmlns:a16="http://schemas.microsoft.com/office/drawing/2014/main" id="{9E4208A0-EB8E-4C74-80CA-CCCDFF58B8BD}"/>
              </a:ext>
            </a:extLst>
          </p:cNvPr>
          <p:cNvCxnSpPr>
            <a:cxnSpLocks/>
            <a:stCxn id="131" idx="1"/>
            <a:endCxn id="72" idx="3"/>
          </p:cNvCxnSpPr>
          <p:nvPr/>
        </p:nvCxnSpPr>
        <p:spPr>
          <a:xfrm rot="10800000" flipV="1">
            <a:off x="8060612" y="1789548"/>
            <a:ext cx="1987267" cy="445585"/>
          </a:xfrm>
          <a:prstGeom prst="bentConnector3">
            <a:avLst>
              <a:gd name="adj1" fmla="val 50000"/>
            </a:avLst>
          </a:prstGeom>
          <a:ln>
            <a:prstDash val="sysDash"/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56674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1BF79C-502F-4F81-96D6-71B28749ACE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6495" r="-1"/>
          <a:stretch/>
        </p:blipFill>
        <p:spPr>
          <a:xfrm>
            <a:off x="6686550" y="0"/>
            <a:ext cx="5505450" cy="6858000"/>
          </a:xfrm>
          <a:prstGeom prst="snip2DiagRect">
            <a:avLst>
              <a:gd name="adj1" fmla="val 33218"/>
              <a:gd name="adj2" fmla="val 0"/>
            </a:avLst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65A6CAC-DFB3-40AF-B49C-446D371E33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842144"/>
              </p:ext>
            </p:extLst>
          </p:nvPr>
        </p:nvGraphicFramePr>
        <p:xfrm>
          <a:off x="401847" y="1211668"/>
          <a:ext cx="5414753" cy="51206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Forventninger til Kick-</a:t>
                      </a:r>
                      <a:r>
                        <a:rPr lang="nb-NO" sz="1600" err="1">
                          <a:solidFill>
                            <a:schemeClr val="tx1"/>
                          </a:solidFill>
                        </a:rPr>
                        <a:t>off</a:t>
                      </a:r>
                      <a:endParaRPr lang="nb-NO" sz="160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251633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Prosjektorganisering og kort status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969310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Overordnet fremdriftspla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103521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Hva skjer innen:</a:t>
                      </a:r>
                      <a:endParaRPr lang="nb-NO" sz="1600" u="sng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685635847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- økonomimode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6483625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- BEVISS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6605733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/>
                        <a:t>- </a:t>
                      </a:r>
                      <a:r>
                        <a:rPr lang="nb-NO" sz="1600" u="none"/>
                        <a:t>systeminnførin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38864994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- </a:t>
                      </a:r>
                      <a:r>
                        <a:rPr lang="nb-NO" sz="1600" u="none"/>
                        <a:t>prosessgjennomgan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40770477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en-US" sz="1600" b="0" i="0" u="none" kern="120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ganisasjonsprosesser</a:t>
                      </a:r>
                      <a:endParaRPr lang="nb-NO" sz="16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451191049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Pause (09.10 - 09.15)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7043672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va vil dette kreve av oss?</a:t>
                      </a: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Avrunding og veien vider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063904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" name="Object 57" hidden="1">
            <a:extLst>
              <a:ext uri="{FF2B5EF4-FFF2-40B4-BE49-F238E27FC236}">
                <a16:creationId xmlns:a16="http://schemas.microsoft.com/office/drawing/2014/main" id="{B4C24E39-4D12-48F2-9908-02434A49EF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75446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8" name="Object 57" hidden="1">
                        <a:extLst>
                          <a:ext uri="{FF2B5EF4-FFF2-40B4-BE49-F238E27FC236}">
                            <a16:creationId xmlns:a16="http://schemas.microsoft.com/office/drawing/2014/main" id="{B4C24E39-4D12-48F2-9908-02434A49EF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4E332AE7-C5D8-48C9-8B58-30C8473BC969}"/>
              </a:ext>
            </a:extLst>
          </p:cNvPr>
          <p:cNvCxnSpPr>
            <a:cxnSpLocks/>
          </p:cNvCxnSpPr>
          <p:nvPr/>
        </p:nvCxnSpPr>
        <p:spPr>
          <a:xfrm flipV="1">
            <a:off x="6250379" y="1542054"/>
            <a:ext cx="340619" cy="526692"/>
          </a:xfrm>
          <a:prstGeom prst="line">
            <a:avLst/>
          </a:prstGeom>
          <a:ln w="38100">
            <a:solidFill>
              <a:srgbClr val="01469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5F36A052-62E9-4972-873C-2AB3434D0117}"/>
              </a:ext>
            </a:extLst>
          </p:cNvPr>
          <p:cNvSpPr/>
          <p:nvPr/>
        </p:nvSpPr>
        <p:spPr>
          <a:xfrm>
            <a:off x="6315937" y="1273665"/>
            <a:ext cx="550120" cy="550120"/>
          </a:xfrm>
          <a:prstGeom prst="ellipse">
            <a:avLst/>
          </a:prstGeom>
          <a:solidFill>
            <a:srgbClr val="0166CB"/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B16863D-F36D-4ECC-B100-CF19FB92A709}"/>
              </a:ext>
            </a:extLst>
          </p:cNvPr>
          <p:cNvSpPr txBox="1"/>
          <p:nvPr/>
        </p:nvSpPr>
        <p:spPr>
          <a:xfrm>
            <a:off x="6821561" y="1336869"/>
            <a:ext cx="1702027" cy="410241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914354">
              <a:defRPr/>
            </a:pPr>
            <a:r>
              <a:rPr lang="nb-NO" sz="933">
                <a:solidFill>
                  <a:srgbClr val="000000"/>
                </a:solidFill>
                <a:latin typeface="Arial" panose="020B0604020202020204"/>
              </a:rPr>
              <a:t>Endringstakt avklart</a:t>
            </a:r>
            <a:br>
              <a:rPr lang="nb-NO" sz="933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933" b="1">
                <a:solidFill>
                  <a:srgbClr val="000000"/>
                </a:solidFill>
                <a:latin typeface="Arial" panose="020B0604020202020204"/>
              </a:rPr>
              <a:t>April 2021</a:t>
            </a:r>
            <a:endParaRPr lang="nb-NO" sz="933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16" name="Graphic 15" descr="User network">
            <a:extLst>
              <a:ext uri="{FF2B5EF4-FFF2-40B4-BE49-F238E27FC236}">
                <a16:creationId xmlns:a16="http://schemas.microsoft.com/office/drawing/2014/main" id="{A4023945-A6D0-472A-9EB3-DA563F6A7D3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63539" y="1300795"/>
            <a:ext cx="495860" cy="495860"/>
          </a:xfrm>
          <a:prstGeom prst="rect">
            <a:avLst/>
          </a:prstGeom>
        </p:spPr>
      </p:pic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C60FBAB0-76F0-471B-9601-2163679A8C6E}"/>
              </a:ext>
            </a:extLst>
          </p:cNvPr>
          <p:cNvCxnSpPr/>
          <p:nvPr/>
        </p:nvCxnSpPr>
        <p:spPr>
          <a:xfrm flipV="1">
            <a:off x="1593516" y="1923815"/>
            <a:ext cx="0" cy="699309"/>
          </a:xfrm>
          <a:prstGeom prst="line">
            <a:avLst/>
          </a:prstGeom>
          <a:ln w="38100">
            <a:solidFill>
              <a:srgbClr val="01469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E62DC8E2-CD8A-469C-9A7E-2A59119EDBF4}"/>
              </a:ext>
            </a:extLst>
          </p:cNvPr>
          <p:cNvCxnSpPr>
            <a:cxnSpLocks/>
          </p:cNvCxnSpPr>
          <p:nvPr/>
        </p:nvCxnSpPr>
        <p:spPr>
          <a:xfrm flipH="1" flipV="1">
            <a:off x="5785853" y="3111785"/>
            <a:ext cx="398300" cy="643884"/>
          </a:xfrm>
          <a:prstGeom prst="line">
            <a:avLst/>
          </a:prstGeom>
          <a:ln w="38100">
            <a:solidFill>
              <a:srgbClr val="01469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7EA3D918-5375-4DA1-A1C1-EE74EFE6205C}"/>
              </a:ext>
            </a:extLst>
          </p:cNvPr>
          <p:cNvCxnSpPr/>
          <p:nvPr/>
        </p:nvCxnSpPr>
        <p:spPr>
          <a:xfrm flipV="1">
            <a:off x="8521155" y="4916078"/>
            <a:ext cx="0" cy="699309"/>
          </a:xfrm>
          <a:prstGeom prst="line">
            <a:avLst/>
          </a:prstGeom>
          <a:ln w="38100">
            <a:solidFill>
              <a:srgbClr val="01469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DA6F36C2-3FCC-4B1A-8786-C2D6E187D74D}"/>
              </a:ext>
            </a:extLst>
          </p:cNvPr>
          <p:cNvCxnSpPr>
            <a:cxnSpLocks/>
          </p:cNvCxnSpPr>
          <p:nvPr/>
        </p:nvCxnSpPr>
        <p:spPr>
          <a:xfrm flipV="1">
            <a:off x="4241539" y="5587676"/>
            <a:ext cx="0" cy="699309"/>
          </a:xfrm>
          <a:prstGeom prst="line">
            <a:avLst/>
          </a:prstGeom>
          <a:ln w="38100">
            <a:solidFill>
              <a:srgbClr val="01469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3E67119A-E882-4A0E-BC5F-0B4C1449EF6E}"/>
              </a:ext>
            </a:extLst>
          </p:cNvPr>
          <p:cNvCxnSpPr/>
          <p:nvPr/>
        </p:nvCxnSpPr>
        <p:spPr>
          <a:xfrm flipV="1">
            <a:off x="4241539" y="4925516"/>
            <a:ext cx="0" cy="699309"/>
          </a:xfrm>
          <a:prstGeom prst="line">
            <a:avLst/>
          </a:prstGeom>
          <a:ln w="38100">
            <a:solidFill>
              <a:srgbClr val="01469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p14="http://schemas.microsoft.com/office/powerpoint/2010/main" Requires="p14">
          <p:contentPart p14:bwMode="auto" r:id="rId8">
            <p14:nvContentPartPr>
              <p14:cNvPr id="2" name="Ink 1">
                <a:extLst>
                  <a:ext uri="{FF2B5EF4-FFF2-40B4-BE49-F238E27FC236}">
                    <a16:creationId xmlns:a16="http://schemas.microsoft.com/office/drawing/2014/main" id="{98FE6D81-F6C1-4880-A94F-B7E70C36B3F5}"/>
                  </a:ext>
                </a:extLst>
              </p14:cNvPr>
              <p14:cNvContentPartPr/>
              <p14:nvPr/>
            </p14:nvContentPartPr>
            <p14:xfrm>
              <a:off x="436920" y="2068745"/>
              <a:ext cx="11162171" cy="3654395"/>
            </p14:xfrm>
          </p:contentPart>
        </mc:Choice>
        <mc:Fallback>
          <p:pic>
            <p:nvPicPr>
              <p:cNvPr id="2" name="Ink 1">
                <a:extLst>
                  <a:ext uri="{FF2B5EF4-FFF2-40B4-BE49-F238E27FC236}">
                    <a16:creationId xmlns:a16="http://schemas.microsoft.com/office/drawing/2014/main" id="{98FE6D81-F6C1-4880-A94F-B7E70C36B3F5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398762" y="2030581"/>
                <a:ext cx="11238126" cy="3730363"/>
              </a:xfrm>
              <a:prstGeom prst="rect">
                <a:avLst/>
              </a:prstGeom>
            </p:spPr>
          </p:pic>
        </mc:Fallback>
      </mc:AlternateContent>
      <p:sp>
        <p:nvSpPr>
          <p:cNvPr id="3" name="TextBox 2">
            <a:extLst>
              <a:ext uri="{FF2B5EF4-FFF2-40B4-BE49-F238E27FC236}">
                <a16:creationId xmlns:a16="http://schemas.microsoft.com/office/drawing/2014/main" id="{1C7C458B-6B1C-42D8-818D-74FFAB858BF7}"/>
              </a:ext>
            </a:extLst>
          </p:cNvPr>
          <p:cNvSpPr txBox="1"/>
          <p:nvPr/>
        </p:nvSpPr>
        <p:spPr>
          <a:xfrm>
            <a:off x="1473839" y="1738230"/>
            <a:ext cx="1702027" cy="410241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54">
              <a:defRPr/>
            </a:pPr>
            <a:r>
              <a:rPr lang="nb-NO" sz="933">
                <a:solidFill>
                  <a:srgbClr val="000000"/>
                </a:solidFill>
                <a:latin typeface="Arial" panose="020B0604020202020204"/>
              </a:rPr>
              <a:t>Felles oppstart</a:t>
            </a:r>
            <a:br>
              <a:rPr lang="nb-NO" sz="933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933" b="1">
                <a:solidFill>
                  <a:srgbClr val="000000"/>
                </a:solidFill>
                <a:latin typeface="Arial" panose="020B0604020202020204"/>
              </a:rPr>
              <a:t>Februar 2021</a:t>
            </a:r>
            <a:endParaRPr lang="nb-NO" sz="933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F84F629-BB02-476E-AE21-0A1E5A03FA00}"/>
              </a:ext>
            </a:extLst>
          </p:cNvPr>
          <p:cNvSpPr/>
          <p:nvPr/>
        </p:nvSpPr>
        <p:spPr>
          <a:xfrm>
            <a:off x="1328477" y="1603892"/>
            <a:ext cx="550120" cy="550120"/>
          </a:xfrm>
          <a:prstGeom prst="ellipse">
            <a:avLst/>
          </a:prstGeom>
          <a:gradFill flip="none" rotWithShape="1">
            <a:gsLst>
              <a:gs pos="0">
                <a:srgbClr val="ED8013"/>
              </a:gs>
              <a:gs pos="51000">
                <a:srgbClr val="0166CB"/>
              </a:gs>
              <a:gs pos="49000">
                <a:srgbClr val="ED8013"/>
              </a:gs>
              <a:gs pos="100000">
                <a:srgbClr val="0166CB"/>
              </a:gs>
            </a:gsLst>
            <a:lin ang="2700000" scaled="0"/>
            <a:tileRect/>
          </a:gra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6" name="Graphic 5" descr="Meeting">
            <a:extLst>
              <a:ext uri="{FF2B5EF4-FFF2-40B4-BE49-F238E27FC236}">
                <a16:creationId xmlns:a16="http://schemas.microsoft.com/office/drawing/2014/main" id="{68BA7FFE-C8F9-4D41-A2FD-B5494EF59A6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83489" y="1628649"/>
            <a:ext cx="440096" cy="440096"/>
          </a:xfrm>
          <a:prstGeom prst="rect">
            <a:avLst/>
          </a:prstGeom>
        </p:spPr>
      </p:pic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F9E4754E-5BBC-4928-804B-16B9D482E07D}"/>
              </a:ext>
            </a:extLst>
          </p:cNvPr>
          <p:cNvCxnSpPr>
            <a:cxnSpLocks/>
          </p:cNvCxnSpPr>
          <p:nvPr/>
        </p:nvCxnSpPr>
        <p:spPr>
          <a:xfrm flipV="1">
            <a:off x="6184153" y="2952811"/>
            <a:ext cx="275060" cy="784239"/>
          </a:xfrm>
          <a:prstGeom prst="line">
            <a:avLst/>
          </a:prstGeom>
          <a:ln w="38100">
            <a:solidFill>
              <a:srgbClr val="01469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FBA862A9-8CB4-4379-979C-F6B8B1120A27}"/>
              </a:ext>
            </a:extLst>
          </p:cNvPr>
          <p:cNvSpPr txBox="1"/>
          <p:nvPr/>
        </p:nvSpPr>
        <p:spPr>
          <a:xfrm>
            <a:off x="6711893" y="2701017"/>
            <a:ext cx="2117655" cy="410241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914354">
              <a:defRPr/>
            </a:pPr>
            <a:r>
              <a:rPr lang="nb-NO" sz="933">
                <a:solidFill>
                  <a:srgbClr val="000000"/>
                </a:solidFill>
                <a:latin typeface="Arial" panose="020B0604020202020204"/>
              </a:rPr>
              <a:t>Organisatoriske endringer avklart</a:t>
            </a:r>
            <a:br>
              <a:rPr lang="nb-NO" sz="933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933" b="1">
                <a:solidFill>
                  <a:srgbClr val="000000"/>
                </a:solidFill>
                <a:latin typeface="Arial" panose="020B0604020202020204"/>
              </a:rPr>
              <a:t>Mai 2021</a:t>
            </a:r>
            <a:endParaRPr lang="nb-NO" sz="933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F8DEDC7-F75E-4640-8AAE-0096266EC9A4}"/>
              </a:ext>
            </a:extLst>
          </p:cNvPr>
          <p:cNvSpPr/>
          <p:nvPr/>
        </p:nvSpPr>
        <p:spPr>
          <a:xfrm>
            <a:off x="6184152" y="2677509"/>
            <a:ext cx="550120" cy="550120"/>
          </a:xfrm>
          <a:prstGeom prst="ellipse">
            <a:avLst/>
          </a:prstGeom>
          <a:solidFill>
            <a:srgbClr val="0166CB"/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21" name="Graphic 20" descr="Connections">
            <a:extLst>
              <a:ext uri="{FF2B5EF4-FFF2-40B4-BE49-F238E27FC236}">
                <a16:creationId xmlns:a16="http://schemas.microsoft.com/office/drawing/2014/main" id="{C3DE903F-3CCB-4257-A2AF-3BB4D2C0673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219212" y="2712813"/>
            <a:ext cx="480000" cy="4800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16449F1A-34C5-4706-B390-B7BD09EA6E0A}"/>
              </a:ext>
            </a:extLst>
          </p:cNvPr>
          <p:cNvSpPr txBox="1"/>
          <p:nvPr/>
        </p:nvSpPr>
        <p:spPr>
          <a:xfrm>
            <a:off x="4472830" y="4626328"/>
            <a:ext cx="1964549" cy="410241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914354">
              <a:defRPr/>
            </a:pPr>
            <a:r>
              <a:rPr lang="nb-NO" sz="933">
                <a:solidFill>
                  <a:srgbClr val="000000"/>
                </a:solidFill>
                <a:latin typeface="Arial" panose="020B0604020202020204"/>
              </a:rPr>
              <a:t>Ansatte begynner opplæring</a:t>
            </a:r>
            <a:br>
              <a:rPr lang="nb-NO" sz="933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933" b="1">
                <a:solidFill>
                  <a:srgbClr val="000000"/>
                </a:solidFill>
                <a:latin typeface="Arial" panose="020B0604020202020204"/>
              </a:rPr>
              <a:t>Oktober 2021</a:t>
            </a:r>
            <a:endParaRPr lang="nb-NO" sz="933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0369996-19BE-4432-BF82-E84B854E105E}"/>
              </a:ext>
            </a:extLst>
          </p:cNvPr>
          <p:cNvSpPr/>
          <p:nvPr/>
        </p:nvSpPr>
        <p:spPr>
          <a:xfrm>
            <a:off x="3966479" y="4556320"/>
            <a:ext cx="550120" cy="550120"/>
          </a:xfrm>
          <a:prstGeom prst="ellipse">
            <a:avLst/>
          </a:prstGeom>
          <a:solidFill>
            <a:srgbClr val="0166CB"/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0ABF711-D054-4EF5-B296-6FE9F836B44F}"/>
              </a:ext>
            </a:extLst>
          </p:cNvPr>
          <p:cNvSpPr txBox="1"/>
          <p:nvPr/>
        </p:nvSpPr>
        <p:spPr>
          <a:xfrm>
            <a:off x="8768047" y="5450299"/>
            <a:ext cx="2329796" cy="410241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914354">
              <a:defRPr/>
            </a:pPr>
            <a:r>
              <a:rPr lang="nb-NO" sz="933">
                <a:solidFill>
                  <a:srgbClr val="000000"/>
                </a:solidFill>
                <a:latin typeface="Arial" panose="020B0604020202020204"/>
              </a:rPr>
              <a:t>Medarbeidere operative i nytt system</a:t>
            </a:r>
            <a:br>
              <a:rPr lang="nb-NO" sz="933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933" b="1">
                <a:solidFill>
                  <a:srgbClr val="000000"/>
                </a:solidFill>
                <a:latin typeface="Arial" panose="020B0604020202020204"/>
              </a:rPr>
              <a:t>Desember 2021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87AA7A2-8E13-4485-9182-C6AC822D3B5C}"/>
              </a:ext>
            </a:extLst>
          </p:cNvPr>
          <p:cNvSpPr/>
          <p:nvPr/>
        </p:nvSpPr>
        <p:spPr>
          <a:xfrm>
            <a:off x="8256789" y="5402344"/>
            <a:ext cx="550120" cy="550120"/>
          </a:xfrm>
          <a:prstGeom prst="ellipse">
            <a:avLst/>
          </a:prstGeom>
          <a:solidFill>
            <a:srgbClr val="0166CB"/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29" name="Graphic 28" descr="Classroom">
            <a:extLst>
              <a:ext uri="{FF2B5EF4-FFF2-40B4-BE49-F238E27FC236}">
                <a16:creationId xmlns:a16="http://schemas.microsoft.com/office/drawing/2014/main" id="{5EAFAE1A-EC62-460B-B3A8-98D59BA9FAC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001539" y="4591380"/>
            <a:ext cx="480000" cy="480000"/>
          </a:xfrm>
          <a:prstGeom prst="rect">
            <a:avLst/>
          </a:prstGeom>
        </p:spPr>
      </p:pic>
      <p:pic>
        <p:nvPicPr>
          <p:cNvPr id="31" name="Graphic 30" descr="Checkmark">
            <a:extLst>
              <a:ext uri="{FF2B5EF4-FFF2-40B4-BE49-F238E27FC236}">
                <a16:creationId xmlns:a16="http://schemas.microsoft.com/office/drawing/2014/main" id="{AF7DAB46-75AB-43B2-8C02-156ACAFE9C7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291849" y="5472465"/>
            <a:ext cx="480000" cy="480000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BA8BD0FC-8914-4921-BEA0-661B1B6E8A77}"/>
              </a:ext>
            </a:extLst>
          </p:cNvPr>
          <p:cNvSpPr txBox="1"/>
          <p:nvPr/>
        </p:nvSpPr>
        <p:spPr>
          <a:xfrm>
            <a:off x="3261771" y="2814508"/>
            <a:ext cx="2296764" cy="410241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r" defTabSz="914354">
              <a:defRPr/>
            </a:pPr>
            <a:r>
              <a:rPr lang="nb-NO" sz="933">
                <a:solidFill>
                  <a:srgbClr val="000000"/>
                </a:solidFill>
                <a:latin typeface="Arial" panose="020B0604020202020204"/>
              </a:rPr>
              <a:t>Datainnsamling UNIT 4 ERP ferdig</a:t>
            </a:r>
            <a:br>
              <a:rPr lang="nb-NO" sz="933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933" b="1">
                <a:solidFill>
                  <a:srgbClr val="000000"/>
                </a:solidFill>
                <a:latin typeface="Arial" panose="020B0604020202020204"/>
              </a:rPr>
              <a:t>Mai 2021</a:t>
            </a:r>
            <a:endParaRPr lang="nb-NO" sz="933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FC580446-D069-4B40-AB05-370A8D407C7D}"/>
              </a:ext>
            </a:extLst>
          </p:cNvPr>
          <p:cNvSpPr/>
          <p:nvPr/>
        </p:nvSpPr>
        <p:spPr>
          <a:xfrm>
            <a:off x="5509883" y="2750068"/>
            <a:ext cx="550120" cy="550120"/>
          </a:xfrm>
          <a:prstGeom prst="ellipse">
            <a:avLst/>
          </a:prstGeom>
          <a:solidFill>
            <a:srgbClr val="ED8013"/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40" name="Graphic 39" descr="Research">
            <a:extLst>
              <a:ext uri="{FF2B5EF4-FFF2-40B4-BE49-F238E27FC236}">
                <a16:creationId xmlns:a16="http://schemas.microsoft.com/office/drawing/2014/main" id="{068DF8E5-C670-4F69-A219-E61001F4234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558535" y="2776028"/>
            <a:ext cx="480000" cy="480000"/>
          </a:xfrm>
          <a:prstGeom prst="rect">
            <a:avLst/>
          </a:prstGeom>
        </p:spPr>
      </p:pic>
      <p:sp>
        <p:nvSpPr>
          <p:cNvPr id="41" name="Tittel 1">
            <a:extLst>
              <a:ext uri="{FF2B5EF4-FFF2-40B4-BE49-F238E27FC236}">
                <a16:creationId xmlns:a16="http://schemas.microsoft.com/office/drawing/2014/main" id="{962BDC60-1A77-4443-BED5-32A44D172B51}"/>
              </a:ext>
            </a:extLst>
          </p:cNvPr>
          <p:cNvSpPr txBox="1">
            <a:spLocks/>
          </p:cNvSpPr>
          <p:nvPr/>
        </p:nvSpPr>
        <p:spPr>
          <a:xfrm>
            <a:off x="140238" y="81358"/>
            <a:ext cx="11224996" cy="504947"/>
          </a:xfrm>
          <a:prstGeom prst="rect">
            <a:avLst/>
          </a:prstGeom>
        </p:spPr>
        <p:txBody>
          <a:bodyPr vert="horz" wrap="square" lIns="90000" tIns="46800" rIns="90000" bIns="468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defTabSz="812760"/>
            <a:r>
              <a:rPr lang="nb-NO" sz="2667">
                <a:solidFill>
                  <a:srgbClr val="000000"/>
                </a:solidFill>
              </a:rPr>
              <a:t>2021 – Milepeler – Innføring BOTT Økonomi og Lønn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B307A83-064E-485D-BEED-C24A4C7E209B}"/>
              </a:ext>
            </a:extLst>
          </p:cNvPr>
          <p:cNvSpPr txBox="1"/>
          <p:nvPr/>
        </p:nvSpPr>
        <p:spPr>
          <a:xfrm>
            <a:off x="4459757" y="6096385"/>
            <a:ext cx="1941001" cy="410241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914354">
              <a:defRPr/>
            </a:pPr>
            <a:r>
              <a:rPr lang="nb-NO" sz="933" err="1">
                <a:solidFill>
                  <a:srgbClr val="000000"/>
                </a:solidFill>
                <a:latin typeface="Arial" panose="020B0604020202020204"/>
              </a:rPr>
              <a:t>Konverteringsfil</a:t>
            </a:r>
            <a:r>
              <a:rPr lang="nb-NO" sz="933">
                <a:solidFill>
                  <a:srgbClr val="000000"/>
                </a:solidFill>
                <a:latin typeface="Arial" panose="020B0604020202020204"/>
              </a:rPr>
              <a:t> levert</a:t>
            </a:r>
            <a:br>
              <a:rPr lang="nb-NO" sz="933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933" b="1">
                <a:solidFill>
                  <a:srgbClr val="000000"/>
                </a:solidFill>
                <a:latin typeface="Arial" panose="020B0604020202020204"/>
              </a:rPr>
              <a:t>Oktober 2021</a:t>
            </a:r>
            <a:endParaRPr lang="nb-NO" sz="933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B830618D-55D0-454D-9DD9-661ACA8ACA46}"/>
              </a:ext>
            </a:extLst>
          </p:cNvPr>
          <p:cNvSpPr/>
          <p:nvPr/>
        </p:nvSpPr>
        <p:spPr>
          <a:xfrm>
            <a:off x="3968032" y="5992324"/>
            <a:ext cx="550120" cy="550120"/>
          </a:xfrm>
          <a:prstGeom prst="ellipse">
            <a:avLst/>
          </a:prstGeom>
          <a:solidFill>
            <a:srgbClr val="ED8013"/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46" name="Graphic 45" descr="Database">
            <a:extLst>
              <a:ext uri="{FF2B5EF4-FFF2-40B4-BE49-F238E27FC236}">
                <a16:creationId xmlns:a16="http://schemas.microsoft.com/office/drawing/2014/main" id="{CB3C7106-E495-412F-A5AF-D120EA4D318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023324" y="6067217"/>
            <a:ext cx="439537" cy="439537"/>
          </a:xfrm>
          <a:prstGeom prst="rect">
            <a:avLst/>
          </a:prstGeom>
        </p:spPr>
      </p:pic>
      <p:grpSp>
        <p:nvGrpSpPr>
          <p:cNvPr id="88" name="Group 87">
            <a:extLst>
              <a:ext uri="{FF2B5EF4-FFF2-40B4-BE49-F238E27FC236}">
                <a16:creationId xmlns:a16="http://schemas.microsoft.com/office/drawing/2014/main" id="{8F78535D-C36C-4D53-A723-0719FC647854}"/>
              </a:ext>
            </a:extLst>
          </p:cNvPr>
          <p:cNvGrpSpPr/>
          <p:nvPr/>
        </p:nvGrpSpPr>
        <p:grpSpPr>
          <a:xfrm>
            <a:off x="6368525" y="3966157"/>
            <a:ext cx="2434583" cy="1007435"/>
            <a:chOff x="4377876" y="3035813"/>
            <a:chExt cx="1825937" cy="755576"/>
          </a:xfrm>
        </p:grpSpPr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D991C307-CB33-403F-9B83-401124EAF30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992529" y="3325564"/>
              <a:ext cx="0" cy="465825"/>
            </a:xfrm>
            <a:prstGeom prst="line">
              <a:avLst/>
            </a:prstGeom>
            <a:ln w="38100">
              <a:solidFill>
                <a:srgbClr val="01469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928E5359-A270-4BF2-8121-011D55456F1F}"/>
                </a:ext>
              </a:extLst>
            </p:cNvPr>
            <p:cNvSpPr txBox="1"/>
            <p:nvPr/>
          </p:nvSpPr>
          <p:spPr>
            <a:xfrm>
              <a:off x="4377876" y="3121418"/>
              <a:ext cx="1455751" cy="307681"/>
            </a:xfrm>
            <a:prstGeom prst="rect">
              <a:avLst/>
            </a:prstGeom>
            <a:noFill/>
          </p:spPr>
          <p:txBody>
            <a:bodyPr wrap="square" lIns="121920" tIns="60960" rIns="121920" bIns="60960" rtlCol="0" anchor="t">
              <a:spAutoFit/>
            </a:bodyPr>
            <a:lstStyle/>
            <a:p>
              <a:pPr algn="r" defTabSz="914354">
                <a:defRPr/>
              </a:pPr>
              <a:r>
                <a:rPr lang="nb-NO" sz="933">
                  <a:solidFill>
                    <a:srgbClr val="000000"/>
                  </a:solidFill>
                  <a:latin typeface="Arial" panose="020B0604020202020204"/>
                </a:rPr>
                <a:t>Konvertering godkjent</a:t>
              </a:r>
              <a:br>
                <a:rPr lang="nb-NO" sz="933">
                  <a:solidFill>
                    <a:srgbClr val="000000"/>
                  </a:solidFill>
                  <a:latin typeface="Arial" panose="020B0604020202020204"/>
                </a:rPr>
              </a:br>
              <a:r>
                <a:rPr lang="nb-NO" sz="933" b="1">
                  <a:solidFill>
                    <a:srgbClr val="000000"/>
                  </a:solidFill>
                  <a:latin typeface="Arial" panose="020B0604020202020204"/>
                </a:rPr>
                <a:t>Desember 2021</a:t>
              </a:r>
              <a:endParaRPr lang="nb-NO" sz="933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79C478D6-A2AD-4C60-B2A8-E56D4DD50D9C}"/>
                </a:ext>
              </a:extLst>
            </p:cNvPr>
            <p:cNvSpPr/>
            <p:nvPr/>
          </p:nvSpPr>
          <p:spPr>
            <a:xfrm>
              <a:off x="5791223" y="3035813"/>
              <a:ext cx="412590" cy="412590"/>
            </a:xfrm>
            <a:prstGeom prst="ellipse">
              <a:avLst/>
            </a:prstGeom>
            <a:solidFill>
              <a:srgbClr val="ED8013"/>
            </a:solidFill>
            <a:ln w="28575">
              <a:solidFill>
                <a:schemeClr val="bg1"/>
              </a:solidFill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54">
                <a:defRPr/>
              </a:pPr>
              <a:endParaRPr lang="nb-NO" sz="933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pic>
          <p:nvPicPr>
            <p:cNvPr id="50" name="Graphic 49" descr="Checkmark">
              <a:extLst>
                <a:ext uri="{FF2B5EF4-FFF2-40B4-BE49-F238E27FC236}">
                  <a16:creationId xmlns:a16="http://schemas.microsoft.com/office/drawing/2014/main" id="{981EF735-03DB-4E66-8A19-47102043F77D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5817518" y="3087328"/>
              <a:ext cx="360000" cy="360000"/>
            </a:xfrm>
            <a:prstGeom prst="rect">
              <a:avLst/>
            </a:prstGeom>
          </p:spPr>
        </p:pic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6784165C-9474-43E3-A9C7-00CA4DEA5E6B}"/>
              </a:ext>
            </a:extLst>
          </p:cNvPr>
          <p:cNvGrpSpPr/>
          <p:nvPr/>
        </p:nvGrpSpPr>
        <p:grpSpPr>
          <a:xfrm>
            <a:off x="9379161" y="3755670"/>
            <a:ext cx="1095664" cy="1156653"/>
            <a:chOff x="7415240" y="2952545"/>
            <a:chExt cx="717355" cy="717355"/>
          </a:xfrm>
        </p:grpSpPr>
        <p:pic>
          <p:nvPicPr>
            <p:cNvPr id="54" name="Graphic 53" descr="Flag">
              <a:extLst>
                <a:ext uri="{FF2B5EF4-FFF2-40B4-BE49-F238E27FC236}">
                  <a16:creationId xmlns:a16="http://schemas.microsoft.com/office/drawing/2014/main" id="{136190EB-F5E1-4FAE-B6E1-56CC4E0E3C70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7415240" y="2952545"/>
              <a:ext cx="717355" cy="717355"/>
            </a:xfrm>
            <a:prstGeom prst="rect">
              <a:avLst/>
            </a:prstGeom>
          </p:spPr>
        </p:pic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DBA9E43A-8B22-47C8-9EFB-01AA1401A076}"/>
                </a:ext>
              </a:extLst>
            </p:cNvPr>
            <p:cNvSpPr txBox="1"/>
            <p:nvPr/>
          </p:nvSpPr>
          <p:spPr>
            <a:xfrm>
              <a:off x="7594562" y="3023179"/>
              <a:ext cx="455788" cy="2099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09585"/>
              <a:r>
                <a:rPr lang="nb-NO" sz="800" b="1">
                  <a:solidFill>
                    <a:srgbClr val="FFFFFF"/>
                  </a:solidFill>
                  <a:latin typeface="Arial" panose="020B0604020202020204"/>
                </a:rPr>
                <a:t>System i drift</a:t>
              </a:r>
            </a:p>
          </p:txBody>
        </p:sp>
      </p:grp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081EC72E-E94A-4043-82B2-2C51F88EFD3A}"/>
              </a:ext>
            </a:extLst>
          </p:cNvPr>
          <p:cNvCxnSpPr>
            <a:cxnSpLocks/>
          </p:cNvCxnSpPr>
          <p:nvPr/>
        </p:nvCxnSpPr>
        <p:spPr>
          <a:xfrm flipV="1">
            <a:off x="10652676" y="4054226"/>
            <a:ext cx="0" cy="621100"/>
          </a:xfrm>
          <a:prstGeom prst="line">
            <a:avLst/>
          </a:prstGeom>
          <a:ln w="38100">
            <a:solidFill>
              <a:srgbClr val="01469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945E868E-7AAA-420E-8671-A41954F2EB96}"/>
              </a:ext>
            </a:extLst>
          </p:cNvPr>
          <p:cNvSpPr txBox="1"/>
          <p:nvPr/>
        </p:nvSpPr>
        <p:spPr>
          <a:xfrm>
            <a:off x="10883617" y="3737050"/>
            <a:ext cx="1941001" cy="410241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914354">
              <a:defRPr/>
            </a:pPr>
            <a:r>
              <a:rPr lang="nb-NO" sz="933">
                <a:solidFill>
                  <a:srgbClr val="000000"/>
                </a:solidFill>
                <a:latin typeface="Arial" panose="020B0604020202020204"/>
              </a:rPr>
              <a:t>Første lønn</a:t>
            </a:r>
            <a:br>
              <a:rPr lang="nb-NO" sz="933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933" b="1">
                <a:solidFill>
                  <a:srgbClr val="000000"/>
                </a:solidFill>
                <a:latin typeface="Arial" panose="020B0604020202020204"/>
              </a:rPr>
              <a:t>Januar 2021</a:t>
            </a:r>
            <a:endParaRPr lang="nb-NO" sz="933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71B7DC5C-0CE5-4520-934E-0DD98A2F16BC}"/>
              </a:ext>
            </a:extLst>
          </p:cNvPr>
          <p:cNvSpPr/>
          <p:nvPr/>
        </p:nvSpPr>
        <p:spPr>
          <a:xfrm>
            <a:off x="10384268" y="3667891"/>
            <a:ext cx="550120" cy="550120"/>
          </a:xfrm>
          <a:prstGeom prst="ellipse">
            <a:avLst/>
          </a:prstGeom>
          <a:solidFill>
            <a:srgbClr val="ED8013"/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72" name="Graphic 71" descr="Checkmark">
            <a:extLst>
              <a:ext uri="{FF2B5EF4-FFF2-40B4-BE49-F238E27FC236}">
                <a16:creationId xmlns:a16="http://schemas.microsoft.com/office/drawing/2014/main" id="{1D32A7EE-8932-4E58-8963-2170D0562DE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0419328" y="3755668"/>
            <a:ext cx="480000" cy="480000"/>
          </a:xfrm>
          <a:prstGeom prst="rect">
            <a:avLst/>
          </a:prstGeom>
        </p:spPr>
      </p:pic>
      <p:pic>
        <p:nvPicPr>
          <p:cNvPr id="75" name="Graphic 74" descr="Crawl">
            <a:extLst>
              <a:ext uri="{FF2B5EF4-FFF2-40B4-BE49-F238E27FC236}">
                <a16:creationId xmlns:a16="http://schemas.microsoft.com/office/drawing/2014/main" id="{936E2A3F-6936-451F-8B40-82861314A93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2942219" y="1934764"/>
            <a:ext cx="353323" cy="353323"/>
          </a:xfrm>
          <a:prstGeom prst="rect">
            <a:avLst/>
          </a:prstGeom>
        </p:spPr>
      </p:pic>
      <p:pic>
        <p:nvPicPr>
          <p:cNvPr id="76" name="Graphic 75" descr="Crawl">
            <a:extLst>
              <a:ext uri="{FF2B5EF4-FFF2-40B4-BE49-F238E27FC236}">
                <a16:creationId xmlns:a16="http://schemas.microsoft.com/office/drawing/2014/main" id="{0C0C5DD9-6CE3-4503-8200-95E46E26A73E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515102" y="1467075"/>
            <a:ext cx="750276" cy="750276"/>
          </a:xfrm>
          <a:prstGeom prst="rect">
            <a:avLst/>
          </a:prstGeom>
        </p:spPr>
      </p:pic>
      <p:pic>
        <p:nvPicPr>
          <p:cNvPr id="79" name="Graphic 78" descr="Run">
            <a:extLst>
              <a:ext uri="{FF2B5EF4-FFF2-40B4-BE49-F238E27FC236}">
                <a16:creationId xmlns:a16="http://schemas.microsoft.com/office/drawing/2014/main" id="{CB11025E-82ED-44F9-9B68-7E5B4BE80DA0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4233127" y="1132884"/>
            <a:ext cx="1042741" cy="1042741"/>
          </a:xfrm>
          <a:prstGeom prst="rect">
            <a:avLst/>
          </a:prstGeom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148B4360-B2CB-4AED-B910-7BDF4B280F14}"/>
              </a:ext>
            </a:extLst>
          </p:cNvPr>
          <p:cNvSpPr txBox="1"/>
          <p:nvPr/>
        </p:nvSpPr>
        <p:spPr>
          <a:xfrm rot="21361132">
            <a:off x="3180663" y="2187594"/>
            <a:ext cx="1881448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067">
                <a:solidFill>
                  <a:srgbClr val="000000"/>
                </a:solidFill>
                <a:latin typeface="Arial" panose="020B0604020202020204"/>
              </a:rPr>
              <a:t>Design sprint prosessgjennomganger</a:t>
            </a: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D9B7AC76-2376-4321-B493-70DED5408C0E}"/>
              </a:ext>
            </a:extLst>
          </p:cNvPr>
          <p:cNvCxnSpPr>
            <a:cxnSpLocks/>
            <a:endCxn id="34" idx="4"/>
          </p:cNvCxnSpPr>
          <p:nvPr/>
        </p:nvCxnSpPr>
        <p:spPr>
          <a:xfrm flipH="1" flipV="1">
            <a:off x="5986093" y="1257094"/>
            <a:ext cx="275060" cy="811652"/>
          </a:xfrm>
          <a:prstGeom prst="line">
            <a:avLst/>
          </a:prstGeom>
          <a:ln w="38100">
            <a:solidFill>
              <a:srgbClr val="01469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Oval 33">
            <a:extLst>
              <a:ext uri="{FF2B5EF4-FFF2-40B4-BE49-F238E27FC236}">
                <a16:creationId xmlns:a16="http://schemas.microsoft.com/office/drawing/2014/main" id="{AC263DF4-6355-49AE-A0DB-EF06855EE85C}"/>
              </a:ext>
            </a:extLst>
          </p:cNvPr>
          <p:cNvSpPr/>
          <p:nvPr/>
        </p:nvSpPr>
        <p:spPr>
          <a:xfrm>
            <a:off x="5711032" y="706973"/>
            <a:ext cx="550120" cy="550120"/>
          </a:xfrm>
          <a:prstGeom prst="ellipse">
            <a:avLst/>
          </a:prstGeom>
          <a:solidFill>
            <a:srgbClr val="ED8013"/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17405D1-D1B4-4F72-A2EC-EFE48B46B023}"/>
              </a:ext>
            </a:extLst>
          </p:cNvPr>
          <p:cNvSpPr txBox="1"/>
          <p:nvPr/>
        </p:nvSpPr>
        <p:spPr>
          <a:xfrm>
            <a:off x="6218304" y="775292"/>
            <a:ext cx="1702027" cy="410241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914354">
              <a:defRPr/>
            </a:pPr>
            <a:r>
              <a:rPr lang="nb-NO" sz="933">
                <a:solidFill>
                  <a:srgbClr val="000000"/>
                </a:solidFill>
                <a:latin typeface="Arial" panose="020B0604020202020204"/>
              </a:rPr>
              <a:t>Datainnsamling SAP ferdig</a:t>
            </a:r>
            <a:br>
              <a:rPr lang="nb-NO" sz="933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933" b="1">
                <a:solidFill>
                  <a:srgbClr val="000000"/>
                </a:solidFill>
                <a:latin typeface="Arial" panose="020B0604020202020204"/>
              </a:rPr>
              <a:t>April 2021</a:t>
            </a:r>
            <a:endParaRPr lang="nb-NO" sz="933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37" name="Graphic 36" descr="Research">
            <a:extLst>
              <a:ext uri="{FF2B5EF4-FFF2-40B4-BE49-F238E27FC236}">
                <a16:creationId xmlns:a16="http://schemas.microsoft.com/office/drawing/2014/main" id="{4B9A9FF6-A1A4-42C0-A4FB-9A3581C7D2E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770379" y="732933"/>
            <a:ext cx="480000" cy="480000"/>
          </a:xfrm>
          <a:prstGeom prst="rect">
            <a:avLst/>
          </a:prstGeom>
        </p:spPr>
      </p:pic>
      <p:sp>
        <p:nvSpPr>
          <p:cNvPr id="61" name="Diamond 100">
            <a:extLst>
              <a:ext uri="{FF2B5EF4-FFF2-40B4-BE49-F238E27FC236}">
                <a16:creationId xmlns:a16="http://schemas.microsoft.com/office/drawing/2014/main" id="{0E789C83-B843-42C7-B2A4-99F0CF262CD5}"/>
              </a:ext>
            </a:extLst>
          </p:cNvPr>
          <p:cNvSpPr/>
          <p:nvPr/>
        </p:nvSpPr>
        <p:spPr>
          <a:xfrm>
            <a:off x="211216" y="554296"/>
            <a:ext cx="238277" cy="240000"/>
          </a:xfrm>
          <a:prstGeom prst="rect">
            <a:avLst/>
          </a:prstGeom>
          <a:solidFill>
            <a:srgbClr val="ED80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8E2EC750-24AB-482D-B034-B8711826C3CA}"/>
              </a:ext>
            </a:extLst>
          </p:cNvPr>
          <p:cNvSpPr/>
          <p:nvPr/>
        </p:nvSpPr>
        <p:spPr>
          <a:xfrm>
            <a:off x="2148092" y="562783"/>
            <a:ext cx="238277" cy="240000"/>
          </a:xfrm>
          <a:prstGeom prst="rect">
            <a:avLst/>
          </a:prstGeom>
          <a:solidFill>
            <a:srgbClr val="0166CB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25EEDFCD-A5DA-417C-A67E-E7144C149723}"/>
              </a:ext>
            </a:extLst>
          </p:cNvPr>
          <p:cNvSpPr txBox="1"/>
          <p:nvPr/>
        </p:nvSpPr>
        <p:spPr>
          <a:xfrm>
            <a:off x="436921" y="510150"/>
            <a:ext cx="157264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nb-NO" sz="1333">
                <a:solidFill>
                  <a:srgbClr val="000000"/>
                </a:solidFill>
                <a:latin typeface="Arial" panose="020B0604020202020204"/>
              </a:rPr>
              <a:t>Teknisk innføring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74075708-2CE6-48ED-96D3-C69235C9CF79}"/>
              </a:ext>
            </a:extLst>
          </p:cNvPr>
          <p:cNvSpPr txBox="1"/>
          <p:nvPr/>
        </p:nvSpPr>
        <p:spPr>
          <a:xfrm>
            <a:off x="2309472" y="510150"/>
            <a:ext cx="204798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nb-NO" sz="1333">
                <a:solidFill>
                  <a:srgbClr val="000000"/>
                </a:solidFill>
                <a:latin typeface="Arial" panose="020B0604020202020204"/>
              </a:rPr>
              <a:t>Organisatorisk innføring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30CD99B7-55FB-4394-BFF7-2B0BF477BFF5}"/>
              </a:ext>
            </a:extLst>
          </p:cNvPr>
          <p:cNvSpPr/>
          <p:nvPr/>
        </p:nvSpPr>
        <p:spPr>
          <a:xfrm>
            <a:off x="10599575" y="81357"/>
            <a:ext cx="1531316" cy="243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09585"/>
            <a:r>
              <a:rPr lang="nb-NO" sz="933" err="1">
                <a:solidFill>
                  <a:srgbClr val="000000"/>
                </a:solidFill>
                <a:latin typeface="Arial" panose="020B0604020202020204"/>
              </a:rPr>
              <a:t>Versj</a:t>
            </a:r>
            <a:r>
              <a:rPr lang="nb-NO" sz="933">
                <a:solidFill>
                  <a:srgbClr val="000000"/>
                </a:solidFill>
                <a:latin typeface="Arial" panose="020B0604020202020204"/>
              </a:rPr>
              <a:t>. dato: 11.02.2021 </a:t>
            </a:r>
          </a:p>
        </p:txBody>
      </p:sp>
    </p:spTree>
    <p:extLst>
      <p:ext uri="{BB962C8B-B14F-4D97-AF65-F5344CB8AC3E}">
        <p14:creationId xmlns:p14="http://schemas.microsoft.com/office/powerpoint/2010/main" val="5617989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937DDF-BEA5-432A-A94B-2932BBA3E0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764589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937DDF-BEA5-432A-A94B-2932BBA3E0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79EC1A25-4CE9-4B3A-B47A-6D7CC302AB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39501017"/>
              </p:ext>
            </p:extLst>
          </p:nvPr>
        </p:nvGraphicFramePr>
        <p:xfrm>
          <a:off x="15128" y="823665"/>
          <a:ext cx="12115763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6DFD5E95-316E-4236-B138-16225B5BE784}"/>
              </a:ext>
            </a:extLst>
          </p:cNvPr>
          <p:cNvCxnSpPr>
            <a:cxnSpLocks/>
            <a:stCxn id="81" idx="2"/>
          </p:cNvCxnSpPr>
          <p:nvPr/>
        </p:nvCxnSpPr>
        <p:spPr>
          <a:xfrm>
            <a:off x="2371871" y="3871652"/>
            <a:ext cx="0" cy="2173706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6" name="TextBox 95">
            <a:extLst>
              <a:ext uri="{FF2B5EF4-FFF2-40B4-BE49-F238E27FC236}">
                <a16:creationId xmlns:a16="http://schemas.microsoft.com/office/drawing/2014/main" id="{F7E87958-DBC9-45D3-8699-65D3830F529E}"/>
              </a:ext>
            </a:extLst>
          </p:cNvPr>
          <p:cNvSpPr txBox="1"/>
          <p:nvPr/>
        </p:nvSpPr>
        <p:spPr>
          <a:xfrm rot="780000">
            <a:off x="1947363" y="6059734"/>
            <a:ext cx="31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Ny arbeidsorganisering fastsatt</a:t>
            </a:r>
          </a:p>
        </p:txBody>
      </p:sp>
      <p:sp>
        <p:nvSpPr>
          <p:cNvPr id="34" name="Diamond 84">
            <a:extLst>
              <a:ext uri="{FF2B5EF4-FFF2-40B4-BE49-F238E27FC236}">
                <a16:creationId xmlns:a16="http://schemas.microsoft.com/office/drawing/2014/main" id="{F6B14935-3421-4AA9-B05C-F6799D6AF2D2}"/>
              </a:ext>
            </a:extLst>
          </p:cNvPr>
          <p:cNvSpPr/>
          <p:nvPr/>
        </p:nvSpPr>
        <p:spPr>
          <a:xfrm>
            <a:off x="10683255" y="3219373"/>
            <a:ext cx="239293" cy="243059"/>
          </a:xfrm>
          <a:prstGeom prst="diamond">
            <a:avLst/>
          </a:prstGeom>
          <a:solidFill>
            <a:srgbClr val="ED8013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5" name="Diamond 86">
            <a:extLst>
              <a:ext uri="{FF2B5EF4-FFF2-40B4-BE49-F238E27FC236}">
                <a16:creationId xmlns:a16="http://schemas.microsoft.com/office/drawing/2014/main" id="{3C190982-2666-4F0A-BDCD-8BA1EAD4F9A2}"/>
              </a:ext>
            </a:extLst>
          </p:cNvPr>
          <p:cNvSpPr/>
          <p:nvPr/>
        </p:nvSpPr>
        <p:spPr>
          <a:xfrm>
            <a:off x="9788764" y="3219373"/>
            <a:ext cx="239293" cy="243059"/>
          </a:xfrm>
          <a:prstGeom prst="diamond">
            <a:avLst/>
          </a:prstGeom>
          <a:solidFill>
            <a:srgbClr val="ED8013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2" name="Diamond 100">
            <a:extLst>
              <a:ext uri="{FF2B5EF4-FFF2-40B4-BE49-F238E27FC236}">
                <a16:creationId xmlns:a16="http://schemas.microsoft.com/office/drawing/2014/main" id="{C1D527F3-0B37-4311-A463-074DF553F344}"/>
              </a:ext>
            </a:extLst>
          </p:cNvPr>
          <p:cNvSpPr/>
          <p:nvPr/>
        </p:nvSpPr>
        <p:spPr>
          <a:xfrm>
            <a:off x="3087887" y="3222432"/>
            <a:ext cx="238277" cy="240000"/>
          </a:xfrm>
          <a:prstGeom prst="diamond">
            <a:avLst/>
          </a:prstGeom>
          <a:solidFill>
            <a:srgbClr val="ED8013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3" name="Diamond 102">
            <a:extLst>
              <a:ext uri="{FF2B5EF4-FFF2-40B4-BE49-F238E27FC236}">
                <a16:creationId xmlns:a16="http://schemas.microsoft.com/office/drawing/2014/main" id="{8E6C8B02-0BA6-47AB-9F0F-291E176487B7}"/>
              </a:ext>
            </a:extLst>
          </p:cNvPr>
          <p:cNvSpPr/>
          <p:nvPr/>
        </p:nvSpPr>
        <p:spPr>
          <a:xfrm>
            <a:off x="8469162" y="3219373"/>
            <a:ext cx="239293" cy="243059"/>
          </a:xfrm>
          <a:prstGeom prst="diamond">
            <a:avLst/>
          </a:prstGeom>
          <a:solidFill>
            <a:srgbClr val="ED8013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1" name="Diamond 100">
            <a:extLst>
              <a:ext uri="{FF2B5EF4-FFF2-40B4-BE49-F238E27FC236}">
                <a16:creationId xmlns:a16="http://schemas.microsoft.com/office/drawing/2014/main" id="{3B742A27-DCBD-4BF0-849F-5CFFE960737F}"/>
              </a:ext>
            </a:extLst>
          </p:cNvPr>
          <p:cNvSpPr/>
          <p:nvPr/>
        </p:nvSpPr>
        <p:spPr>
          <a:xfrm>
            <a:off x="4168196" y="3222432"/>
            <a:ext cx="238277" cy="240000"/>
          </a:xfrm>
          <a:prstGeom prst="diamond">
            <a:avLst/>
          </a:prstGeom>
          <a:solidFill>
            <a:srgbClr val="ED8013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83" name="Diamond 86">
            <a:extLst>
              <a:ext uri="{FF2B5EF4-FFF2-40B4-BE49-F238E27FC236}">
                <a16:creationId xmlns:a16="http://schemas.microsoft.com/office/drawing/2014/main" id="{BBF4CCFB-E4AF-4898-8E76-DDD643717BC0}"/>
              </a:ext>
            </a:extLst>
          </p:cNvPr>
          <p:cNvSpPr/>
          <p:nvPr/>
        </p:nvSpPr>
        <p:spPr>
          <a:xfrm>
            <a:off x="10196047" y="3219373"/>
            <a:ext cx="239293" cy="243059"/>
          </a:xfrm>
          <a:prstGeom prst="diamond">
            <a:avLst/>
          </a:prstGeom>
          <a:solidFill>
            <a:srgbClr val="ED8013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7A86FBE5-AC88-4136-85AD-E5662A228BC6}"/>
              </a:ext>
            </a:extLst>
          </p:cNvPr>
          <p:cNvCxnSpPr>
            <a:cxnSpLocks/>
          </p:cNvCxnSpPr>
          <p:nvPr/>
        </p:nvCxnSpPr>
        <p:spPr>
          <a:xfrm>
            <a:off x="10279451" y="3834772"/>
            <a:ext cx="0" cy="1751737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E04D334D-C636-4451-984E-843BE7818712}"/>
              </a:ext>
            </a:extLst>
          </p:cNvPr>
          <p:cNvCxnSpPr>
            <a:cxnSpLocks/>
          </p:cNvCxnSpPr>
          <p:nvPr/>
        </p:nvCxnSpPr>
        <p:spPr>
          <a:xfrm>
            <a:off x="7759724" y="3776144"/>
            <a:ext cx="0" cy="1654112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6DBD1565-3B7E-4E8D-89E1-9C955CF752F7}"/>
              </a:ext>
            </a:extLst>
          </p:cNvPr>
          <p:cNvCxnSpPr>
            <a:cxnSpLocks/>
          </p:cNvCxnSpPr>
          <p:nvPr/>
        </p:nvCxnSpPr>
        <p:spPr>
          <a:xfrm>
            <a:off x="7753091" y="5440484"/>
            <a:ext cx="1920267" cy="438525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Diamond 84">
            <a:extLst>
              <a:ext uri="{FF2B5EF4-FFF2-40B4-BE49-F238E27FC236}">
                <a16:creationId xmlns:a16="http://schemas.microsoft.com/office/drawing/2014/main" id="{B762AF84-EDD4-47A1-9EEE-496F5575496B}"/>
              </a:ext>
            </a:extLst>
          </p:cNvPr>
          <p:cNvSpPr/>
          <p:nvPr/>
        </p:nvSpPr>
        <p:spPr>
          <a:xfrm>
            <a:off x="909060" y="3644860"/>
            <a:ext cx="238277" cy="240000"/>
          </a:xfrm>
          <a:prstGeom prst="diamond">
            <a:avLst/>
          </a:prstGeom>
          <a:solidFill>
            <a:srgbClr val="0166CB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87" name="Diamond 86">
            <a:extLst>
              <a:ext uri="{FF2B5EF4-FFF2-40B4-BE49-F238E27FC236}">
                <a16:creationId xmlns:a16="http://schemas.microsoft.com/office/drawing/2014/main" id="{560F798F-A6E9-4901-9876-CEEA523CE447}"/>
              </a:ext>
            </a:extLst>
          </p:cNvPr>
          <p:cNvSpPr/>
          <p:nvPr/>
        </p:nvSpPr>
        <p:spPr>
          <a:xfrm>
            <a:off x="10161470" y="3644860"/>
            <a:ext cx="238277" cy="240000"/>
          </a:xfrm>
          <a:prstGeom prst="diamond">
            <a:avLst/>
          </a:prstGeom>
          <a:solidFill>
            <a:srgbClr val="0166CB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ED7DC317-E9F1-45EB-BFCC-F4D58E4C5F79}"/>
              </a:ext>
            </a:extLst>
          </p:cNvPr>
          <p:cNvSpPr txBox="1"/>
          <p:nvPr/>
        </p:nvSpPr>
        <p:spPr>
          <a:xfrm rot="780000">
            <a:off x="10191797" y="5366129"/>
            <a:ext cx="19869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Medarbeidere operative i nytt system</a:t>
            </a:r>
          </a:p>
        </p:txBody>
      </p:sp>
      <p:sp>
        <p:nvSpPr>
          <p:cNvPr id="89" name="Diamond 88">
            <a:extLst>
              <a:ext uri="{FF2B5EF4-FFF2-40B4-BE49-F238E27FC236}">
                <a16:creationId xmlns:a16="http://schemas.microsoft.com/office/drawing/2014/main" id="{D49CFDF3-087F-4C1E-9F2E-202136F2B887}"/>
              </a:ext>
            </a:extLst>
          </p:cNvPr>
          <p:cNvSpPr/>
          <p:nvPr/>
        </p:nvSpPr>
        <p:spPr>
          <a:xfrm>
            <a:off x="7646318" y="3644860"/>
            <a:ext cx="238277" cy="240000"/>
          </a:xfrm>
          <a:prstGeom prst="diamond">
            <a:avLst/>
          </a:prstGeom>
          <a:solidFill>
            <a:srgbClr val="0166CB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A886C205-5D8C-4B7F-98F5-9E59FBF2CE82}"/>
              </a:ext>
            </a:extLst>
          </p:cNvPr>
          <p:cNvSpPr txBox="1"/>
          <p:nvPr/>
        </p:nvSpPr>
        <p:spPr>
          <a:xfrm rot="780000">
            <a:off x="7617901" y="5262721"/>
            <a:ext cx="22272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De nye rollene er tildelt, opplæring begynner</a:t>
            </a:r>
          </a:p>
        </p:txBody>
      </p:sp>
      <p:sp>
        <p:nvSpPr>
          <p:cNvPr id="101" name="Diamond 100">
            <a:extLst>
              <a:ext uri="{FF2B5EF4-FFF2-40B4-BE49-F238E27FC236}">
                <a16:creationId xmlns:a16="http://schemas.microsoft.com/office/drawing/2014/main" id="{5ED23661-4CFE-4A80-8273-97FFB7DEB2E0}"/>
              </a:ext>
            </a:extLst>
          </p:cNvPr>
          <p:cNvSpPr/>
          <p:nvPr/>
        </p:nvSpPr>
        <p:spPr>
          <a:xfrm>
            <a:off x="2947808" y="3644860"/>
            <a:ext cx="238277" cy="240000"/>
          </a:xfrm>
          <a:prstGeom prst="diamond">
            <a:avLst/>
          </a:prstGeom>
          <a:solidFill>
            <a:srgbClr val="0166CB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6" name="TextBox 99">
            <a:extLst>
              <a:ext uri="{FF2B5EF4-FFF2-40B4-BE49-F238E27FC236}">
                <a16:creationId xmlns:a16="http://schemas.microsoft.com/office/drawing/2014/main" id="{79CDC379-649E-4D3A-B018-809E13CBEF80}"/>
              </a:ext>
            </a:extLst>
          </p:cNvPr>
          <p:cNvSpPr txBox="1"/>
          <p:nvPr/>
        </p:nvSpPr>
        <p:spPr>
          <a:xfrm rot="780000">
            <a:off x="431653" y="1297171"/>
            <a:ext cx="31124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sz="900"/>
            </a:lvl1pPr>
          </a:lstStyle>
          <a:p>
            <a:pPr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Datainnsamling SAP gjennomført</a:t>
            </a:r>
          </a:p>
        </p:txBody>
      </p:sp>
      <p:sp>
        <p:nvSpPr>
          <p:cNvPr id="47" name="TextBox 99">
            <a:extLst>
              <a:ext uri="{FF2B5EF4-FFF2-40B4-BE49-F238E27FC236}">
                <a16:creationId xmlns:a16="http://schemas.microsoft.com/office/drawing/2014/main" id="{20E0C560-2AD5-412E-9816-C5FB5013C5B0}"/>
              </a:ext>
            </a:extLst>
          </p:cNvPr>
          <p:cNvSpPr txBox="1"/>
          <p:nvPr/>
        </p:nvSpPr>
        <p:spPr>
          <a:xfrm rot="780000">
            <a:off x="6529352" y="1550689"/>
            <a:ext cx="24350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sz="900"/>
            </a:lvl1pPr>
          </a:lstStyle>
          <a:p>
            <a:pPr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Levert </a:t>
            </a:r>
            <a:r>
              <a:rPr lang="nb-NO" sz="1200" err="1">
                <a:solidFill>
                  <a:srgbClr val="000000"/>
                </a:solidFill>
                <a:latin typeface="Arial" panose="020B0604020202020204"/>
              </a:rPr>
              <a:t>konverteringsfil</a:t>
            </a: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 til DFØ</a:t>
            </a:r>
          </a:p>
        </p:txBody>
      </p:sp>
      <p:sp>
        <p:nvSpPr>
          <p:cNvPr id="48" name="TextBox 99">
            <a:extLst>
              <a:ext uri="{FF2B5EF4-FFF2-40B4-BE49-F238E27FC236}">
                <a16:creationId xmlns:a16="http://schemas.microsoft.com/office/drawing/2014/main" id="{E9B9DBE3-D638-4019-A21D-FE0FC26FDCD1}"/>
              </a:ext>
            </a:extLst>
          </p:cNvPr>
          <p:cNvSpPr txBox="1"/>
          <p:nvPr/>
        </p:nvSpPr>
        <p:spPr>
          <a:xfrm rot="780000">
            <a:off x="7541611" y="1362697"/>
            <a:ext cx="235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sz="900"/>
            </a:lvl1pPr>
          </a:lstStyle>
          <a:p>
            <a:pPr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Konvertering godkjent av DFØ</a:t>
            </a:r>
          </a:p>
        </p:txBody>
      </p:sp>
      <p:sp>
        <p:nvSpPr>
          <p:cNvPr id="49" name="TextBox 99">
            <a:extLst>
              <a:ext uri="{FF2B5EF4-FFF2-40B4-BE49-F238E27FC236}">
                <a16:creationId xmlns:a16="http://schemas.microsoft.com/office/drawing/2014/main" id="{1DAE9251-F5E7-40CC-BAE7-A05417BA591A}"/>
              </a:ext>
            </a:extLst>
          </p:cNvPr>
          <p:cNvSpPr txBox="1"/>
          <p:nvPr/>
        </p:nvSpPr>
        <p:spPr>
          <a:xfrm rot="780000">
            <a:off x="7560105" y="834722"/>
            <a:ext cx="34827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sz="900"/>
            </a:lvl1pPr>
          </a:lstStyle>
          <a:p>
            <a:pPr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Første lønnskjøring i nytt system gjennomført</a:t>
            </a:r>
          </a:p>
        </p:txBody>
      </p:sp>
      <p:sp>
        <p:nvSpPr>
          <p:cNvPr id="52" name="TextBox 99">
            <a:extLst>
              <a:ext uri="{FF2B5EF4-FFF2-40B4-BE49-F238E27FC236}">
                <a16:creationId xmlns:a16="http://schemas.microsoft.com/office/drawing/2014/main" id="{2A679FD0-A88A-4E80-8F3D-E3FC7524CB20}"/>
              </a:ext>
            </a:extLst>
          </p:cNvPr>
          <p:cNvSpPr txBox="1"/>
          <p:nvPr/>
        </p:nvSpPr>
        <p:spPr>
          <a:xfrm rot="780000">
            <a:off x="1387612" y="1169519"/>
            <a:ext cx="32382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sz="900"/>
            </a:lvl1pPr>
          </a:lstStyle>
          <a:p>
            <a:pPr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 Datainnsamling UNIT 4 ERP gjennomført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8D240AC-22BC-4B77-A4EC-98F8920BCA50}"/>
              </a:ext>
            </a:extLst>
          </p:cNvPr>
          <p:cNvCxnSpPr>
            <a:cxnSpLocks/>
          </p:cNvCxnSpPr>
          <p:nvPr/>
        </p:nvCxnSpPr>
        <p:spPr>
          <a:xfrm flipV="1">
            <a:off x="3205749" y="1894459"/>
            <a:ext cx="0" cy="1320516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CABF263D-4B62-430F-BC36-84EFC11D3A6D}"/>
              </a:ext>
            </a:extLst>
          </p:cNvPr>
          <p:cNvCxnSpPr>
            <a:cxnSpLocks/>
          </p:cNvCxnSpPr>
          <p:nvPr/>
        </p:nvCxnSpPr>
        <p:spPr>
          <a:xfrm flipH="1" flipV="1">
            <a:off x="869497" y="1342601"/>
            <a:ext cx="2339449" cy="557867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60AB1254-4390-453F-A01F-3673692DCB3D}"/>
              </a:ext>
            </a:extLst>
          </p:cNvPr>
          <p:cNvCxnSpPr>
            <a:cxnSpLocks/>
          </p:cNvCxnSpPr>
          <p:nvPr/>
        </p:nvCxnSpPr>
        <p:spPr>
          <a:xfrm flipV="1">
            <a:off x="4286321" y="1762011"/>
            <a:ext cx="0" cy="1452964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A1E8D2F0-465F-48E3-99A0-948FCD212177}"/>
              </a:ext>
            </a:extLst>
          </p:cNvPr>
          <p:cNvCxnSpPr>
            <a:cxnSpLocks/>
          </p:cNvCxnSpPr>
          <p:nvPr/>
        </p:nvCxnSpPr>
        <p:spPr>
          <a:xfrm flipH="1" flipV="1">
            <a:off x="1527115" y="1107917"/>
            <a:ext cx="2758791" cy="634252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C3AE8D1-338E-4C83-BFD2-1AB5387F16B2}"/>
              </a:ext>
            </a:extLst>
          </p:cNvPr>
          <p:cNvCxnSpPr>
            <a:cxnSpLocks/>
          </p:cNvCxnSpPr>
          <p:nvPr/>
        </p:nvCxnSpPr>
        <p:spPr>
          <a:xfrm flipV="1">
            <a:off x="8588693" y="2060791"/>
            <a:ext cx="0" cy="1104275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709532D-5D54-490F-960F-596F9BA52F8F}"/>
              </a:ext>
            </a:extLst>
          </p:cNvPr>
          <p:cNvCxnSpPr>
            <a:cxnSpLocks/>
          </p:cNvCxnSpPr>
          <p:nvPr/>
        </p:nvCxnSpPr>
        <p:spPr>
          <a:xfrm flipH="1" flipV="1">
            <a:off x="6757078" y="1627945"/>
            <a:ext cx="1828004" cy="435907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DADCC65C-6A35-448C-9C91-28E3322EC785}"/>
              </a:ext>
            </a:extLst>
          </p:cNvPr>
          <p:cNvCxnSpPr>
            <a:cxnSpLocks/>
          </p:cNvCxnSpPr>
          <p:nvPr/>
        </p:nvCxnSpPr>
        <p:spPr>
          <a:xfrm flipV="1">
            <a:off x="9893672" y="1958735"/>
            <a:ext cx="0" cy="1206331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98ECB0A2-0418-4C90-997C-66ED14E4519B}"/>
              </a:ext>
            </a:extLst>
          </p:cNvPr>
          <p:cNvCxnSpPr>
            <a:cxnSpLocks/>
          </p:cNvCxnSpPr>
          <p:nvPr/>
        </p:nvCxnSpPr>
        <p:spPr>
          <a:xfrm flipH="1" flipV="1">
            <a:off x="7550612" y="1404148"/>
            <a:ext cx="2339449" cy="557867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1375B874-ABAC-436A-89CF-17CC4123F7BF}"/>
              </a:ext>
            </a:extLst>
          </p:cNvPr>
          <p:cNvCxnSpPr>
            <a:cxnSpLocks/>
          </p:cNvCxnSpPr>
          <p:nvPr/>
        </p:nvCxnSpPr>
        <p:spPr>
          <a:xfrm flipV="1">
            <a:off x="10797508" y="1450290"/>
            <a:ext cx="0" cy="1754932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0B40C027-49EB-4BFF-AD05-3FEE2144FFEE}"/>
              </a:ext>
            </a:extLst>
          </p:cNvPr>
          <p:cNvCxnSpPr>
            <a:cxnSpLocks/>
          </p:cNvCxnSpPr>
          <p:nvPr/>
        </p:nvCxnSpPr>
        <p:spPr>
          <a:xfrm flipH="1" flipV="1">
            <a:off x="7704244" y="738967"/>
            <a:ext cx="3089675" cy="710324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3CEDBBC-91F6-45D0-A84D-EAD6DF1DCF3E}"/>
              </a:ext>
            </a:extLst>
          </p:cNvPr>
          <p:cNvCxnSpPr>
            <a:cxnSpLocks/>
          </p:cNvCxnSpPr>
          <p:nvPr/>
        </p:nvCxnSpPr>
        <p:spPr>
          <a:xfrm>
            <a:off x="1028199" y="3782642"/>
            <a:ext cx="0" cy="2227182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888D119F-E9C9-4897-9093-87B218FFFB3A}"/>
              </a:ext>
            </a:extLst>
          </p:cNvPr>
          <p:cNvCxnSpPr>
            <a:cxnSpLocks/>
          </p:cNvCxnSpPr>
          <p:nvPr/>
        </p:nvCxnSpPr>
        <p:spPr>
          <a:xfrm>
            <a:off x="1039133" y="5995357"/>
            <a:ext cx="1695744" cy="394191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DCC42959-FB43-41B1-9B06-44178123403C}"/>
              </a:ext>
            </a:extLst>
          </p:cNvPr>
          <p:cNvSpPr txBox="1"/>
          <p:nvPr/>
        </p:nvSpPr>
        <p:spPr>
          <a:xfrm rot="780000">
            <a:off x="236781" y="5928437"/>
            <a:ext cx="35171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Felles oppstart gjennomført</a:t>
            </a:r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3FB66F6D-3923-417A-98FE-3BEC478A4403}"/>
              </a:ext>
            </a:extLst>
          </p:cNvPr>
          <p:cNvCxnSpPr>
            <a:cxnSpLocks/>
            <a:stCxn id="101" idx="2"/>
          </p:cNvCxnSpPr>
          <p:nvPr/>
        </p:nvCxnSpPr>
        <p:spPr>
          <a:xfrm flipH="1">
            <a:off x="3062958" y="3884860"/>
            <a:ext cx="3989" cy="2021243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59FA8AA8-3B39-4DEF-9B10-679644975EAC}"/>
              </a:ext>
            </a:extLst>
          </p:cNvPr>
          <p:cNvCxnSpPr>
            <a:cxnSpLocks/>
          </p:cNvCxnSpPr>
          <p:nvPr/>
        </p:nvCxnSpPr>
        <p:spPr>
          <a:xfrm>
            <a:off x="3071711" y="5916935"/>
            <a:ext cx="2734283" cy="635608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8" name="TextBox 97">
            <a:extLst>
              <a:ext uri="{FF2B5EF4-FFF2-40B4-BE49-F238E27FC236}">
                <a16:creationId xmlns:a16="http://schemas.microsoft.com/office/drawing/2014/main" id="{E479CB8E-4789-4519-809D-A7B4B42959F3}"/>
              </a:ext>
            </a:extLst>
          </p:cNvPr>
          <p:cNvSpPr txBox="1"/>
          <p:nvPr/>
        </p:nvSpPr>
        <p:spPr>
          <a:xfrm rot="780000">
            <a:off x="2889997" y="5975245"/>
            <a:ext cx="31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Endringstakt for implementering avklart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2AD441EE-ED2A-40C3-9D2A-961EEE2E52F2}"/>
              </a:ext>
            </a:extLst>
          </p:cNvPr>
          <p:cNvCxnSpPr>
            <a:cxnSpLocks/>
          </p:cNvCxnSpPr>
          <p:nvPr/>
        </p:nvCxnSpPr>
        <p:spPr>
          <a:xfrm>
            <a:off x="10278451" y="5597340"/>
            <a:ext cx="1558507" cy="369115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4" name="TextBox 99">
            <a:extLst>
              <a:ext uri="{FF2B5EF4-FFF2-40B4-BE49-F238E27FC236}">
                <a16:creationId xmlns:a16="http://schemas.microsoft.com/office/drawing/2014/main" id="{7654CDBD-2FC9-4AC8-B96B-7EC1AB418A8A}"/>
              </a:ext>
            </a:extLst>
          </p:cNvPr>
          <p:cNvSpPr txBox="1"/>
          <p:nvPr/>
        </p:nvSpPr>
        <p:spPr>
          <a:xfrm rot="780000">
            <a:off x="8671565" y="1301212"/>
            <a:ext cx="235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sz="900"/>
            </a:lvl1pPr>
          </a:lstStyle>
          <a:p>
            <a:pPr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Systembytte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44E8417D-3071-4EAA-81D0-ADE26BEF07E4}"/>
              </a:ext>
            </a:extLst>
          </p:cNvPr>
          <p:cNvCxnSpPr>
            <a:cxnSpLocks/>
          </p:cNvCxnSpPr>
          <p:nvPr/>
        </p:nvCxnSpPr>
        <p:spPr>
          <a:xfrm flipV="1">
            <a:off x="10290357" y="1703206"/>
            <a:ext cx="0" cy="1481367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14F67E81-2CE5-4A15-B32E-D6BE3F0728F9}"/>
              </a:ext>
            </a:extLst>
          </p:cNvPr>
          <p:cNvCxnSpPr>
            <a:cxnSpLocks/>
          </p:cNvCxnSpPr>
          <p:nvPr/>
        </p:nvCxnSpPr>
        <p:spPr>
          <a:xfrm flipH="1" flipV="1">
            <a:off x="9326203" y="1472423"/>
            <a:ext cx="971141" cy="231580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7" name="Diamond 96">
            <a:extLst>
              <a:ext uri="{FF2B5EF4-FFF2-40B4-BE49-F238E27FC236}">
                <a16:creationId xmlns:a16="http://schemas.microsoft.com/office/drawing/2014/main" id="{2860507D-1260-465F-BCDA-90F5D62EC502}"/>
              </a:ext>
            </a:extLst>
          </p:cNvPr>
          <p:cNvSpPr/>
          <p:nvPr/>
        </p:nvSpPr>
        <p:spPr>
          <a:xfrm>
            <a:off x="3847276" y="3592467"/>
            <a:ext cx="238277" cy="240000"/>
          </a:xfrm>
          <a:prstGeom prst="diamond">
            <a:avLst/>
          </a:prstGeom>
          <a:solidFill>
            <a:srgbClr val="0166CB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6CD9F03C-57C2-41EE-BB23-C54EF0AF1D14}"/>
              </a:ext>
            </a:extLst>
          </p:cNvPr>
          <p:cNvCxnSpPr>
            <a:cxnSpLocks/>
            <a:stCxn id="97" idx="2"/>
          </p:cNvCxnSpPr>
          <p:nvPr/>
        </p:nvCxnSpPr>
        <p:spPr>
          <a:xfrm flipH="1">
            <a:off x="3962426" y="3832467"/>
            <a:ext cx="3989" cy="1908355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36BFFC15-D45E-4B4E-AD50-78AE2B5C546F}"/>
              </a:ext>
            </a:extLst>
          </p:cNvPr>
          <p:cNvCxnSpPr>
            <a:cxnSpLocks/>
          </p:cNvCxnSpPr>
          <p:nvPr/>
        </p:nvCxnSpPr>
        <p:spPr>
          <a:xfrm>
            <a:off x="3971179" y="5751653"/>
            <a:ext cx="2734283" cy="635608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6" name="TextBox 105">
            <a:extLst>
              <a:ext uri="{FF2B5EF4-FFF2-40B4-BE49-F238E27FC236}">
                <a16:creationId xmlns:a16="http://schemas.microsoft.com/office/drawing/2014/main" id="{358E22A0-C1CF-4FFA-97E0-EC8C1CDB7638}"/>
              </a:ext>
            </a:extLst>
          </p:cNvPr>
          <p:cNvSpPr txBox="1"/>
          <p:nvPr/>
        </p:nvSpPr>
        <p:spPr>
          <a:xfrm rot="780000">
            <a:off x="3789465" y="5809963"/>
            <a:ext cx="31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Valgte organisatoriske endringer avgjort</a:t>
            </a:r>
          </a:p>
        </p:txBody>
      </p:sp>
      <p:sp>
        <p:nvSpPr>
          <p:cNvPr id="133" name="Arrow: Pentagon 132">
            <a:extLst>
              <a:ext uri="{FF2B5EF4-FFF2-40B4-BE49-F238E27FC236}">
                <a16:creationId xmlns:a16="http://schemas.microsoft.com/office/drawing/2014/main" id="{8241F6E1-FF91-44EC-B71E-A3E464FE38AE}"/>
              </a:ext>
            </a:extLst>
          </p:cNvPr>
          <p:cNvSpPr/>
          <p:nvPr/>
        </p:nvSpPr>
        <p:spPr bwMode="gray">
          <a:xfrm>
            <a:off x="59932" y="4044841"/>
            <a:ext cx="960936" cy="230015"/>
          </a:xfrm>
          <a:prstGeom prst="homePlate">
            <a:avLst/>
          </a:prstGeom>
          <a:solidFill>
            <a:srgbClr val="0166CB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</a:pPr>
            <a:r>
              <a:rPr lang="nb-NO" sz="933" b="1">
                <a:solidFill>
                  <a:srgbClr val="FFFFFF"/>
                </a:solidFill>
                <a:latin typeface="Calibri Light"/>
              </a:rPr>
              <a:t>Forankring</a:t>
            </a:r>
          </a:p>
        </p:txBody>
      </p:sp>
      <p:sp>
        <p:nvSpPr>
          <p:cNvPr id="134" name="Arrow: Chevron 133">
            <a:extLst>
              <a:ext uri="{FF2B5EF4-FFF2-40B4-BE49-F238E27FC236}">
                <a16:creationId xmlns:a16="http://schemas.microsoft.com/office/drawing/2014/main" id="{EF73A297-60EA-485E-A0AE-47E59DAF78E5}"/>
              </a:ext>
            </a:extLst>
          </p:cNvPr>
          <p:cNvSpPr/>
          <p:nvPr/>
        </p:nvSpPr>
        <p:spPr bwMode="gray">
          <a:xfrm>
            <a:off x="3739971" y="4044841"/>
            <a:ext cx="4144626" cy="497537"/>
          </a:xfrm>
          <a:prstGeom prst="chevron">
            <a:avLst/>
          </a:prstGeom>
          <a:solidFill>
            <a:srgbClr val="0166CB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</a:pPr>
            <a:r>
              <a:rPr lang="nb-NO" sz="933" b="1">
                <a:solidFill>
                  <a:srgbClr val="FFFFFF"/>
                </a:solidFill>
                <a:latin typeface="Calibri Light"/>
              </a:rPr>
              <a:t>Prosess for tilpasning av arbeidsorganisering og -deling for valgte områder</a:t>
            </a:r>
          </a:p>
        </p:txBody>
      </p:sp>
      <p:sp>
        <p:nvSpPr>
          <p:cNvPr id="135" name="Arrow: Chevron 134">
            <a:extLst>
              <a:ext uri="{FF2B5EF4-FFF2-40B4-BE49-F238E27FC236}">
                <a16:creationId xmlns:a16="http://schemas.microsoft.com/office/drawing/2014/main" id="{A34BE05D-1856-44DD-8659-FC32C4E761D1}"/>
              </a:ext>
            </a:extLst>
          </p:cNvPr>
          <p:cNvSpPr/>
          <p:nvPr/>
        </p:nvSpPr>
        <p:spPr bwMode="gray">
          <a:xfrm>
            <a:off x="7648868" y="4044841"/>
            <a:ext cx="2640336" cy="487967"/>
          </a:xfrm>
          <a:prstGeom prst="chevron">
            <a:avLst/>
          </a:prstGeom>
          <a:solidFill>
            <a:srgbClr val="0166CB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lnSpc>
                <a:spcPct val="106000"/>
              </a:lnSpc>
            </a:pPr>
            <a:r>
              <a:rPr lang="nb-NO" sz="933" b="1">
                <a:solidFill>
                  <a:srgbClr val="FFFFFF"/>
                </a:solidFill>
                <a:latin typeface="Calibri Light"/>
              </a:rPr>
              <a:t>Opplæring</a:t>
            </a:r>
          </a:p>
        </p:txBody>
      </p:sp>
      <p:sp>
        <p:nvSpPr>
          <p:cNvPr id="136" name="Arrow: Pentagon 135">
            <a:extLst>
              <a:ext uri="{FF2B5EF4-FFF2-40B4-BE49-F238E27FC236}">
                <a16:creationId xmlns:a16="http://schemas.microsoft.com/office/drawing/2014/main" id="{E89F2D7E-46F0-458B-A7FC-DFCEF5A4B0FC}"/>
              </a:ext>
            </a:extLst>
          </p:cNvPr>
          <p:cNvSpPr/>
          <p:nvPr/>
        </p:nvSpPr>
        <p:spPr bwMode="gray">
          <a:xfrm>
            <a:off x="59930" y="4303300"/>
            <a:ext cx="964441" cy="239747"/>
          </a:xfrm>
          <a:prstGeom prst="homePlate">
            <a:avLst/>
          </a:prstGeom>
          <a:solidFill>
            <a:srgbClr val="0166CB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</a:pPr>
            <a:r>
              <a:rPr lang="nb-NO" sz="933" b="1">
                <a:solidFill>
                  <a:srgbClr val="FFFFFF"/>
                </a:solidFill>
                <a:latin typeface="Calibri Light"/>
              </a:rPr>
              <a:t>Innsikt</a:t>
            </a:r>
          </a:p>
        </p:txBody>
      </p:sp>
      <p:sp>
        <p:nvSpPr>
          <p:cNvPr id="137" name="Arrow: Chevron 136">
            <a:extLst>
              <a:ext uri="{FF2B5EF4-FFF2-40B4-BE49-F238E27FC236}">
                <a16:creationId xmlns:a16="http://schemas.microsoft.com/office/drawing/2014/main" id="{CDC25C6E-76E1-46CA-AEEF-A19785038F6E}"/>
              </a:ext>
            </a:extLst>
          </p:cNvPr>
          <p:cNvSpPr/>
          <p:nvPr/>
        </p:nvSpPr>
        <p:spPr bwMode="gray">
          <a:xfrm>
            <a:off x="971682" y="4044841"/>
            <a:ext cx="1819168" cy="500645"/>
          </a:xfrm>
          <a:prstGeom prst="chevron">
            <a:avLst/>
          </a:prstGeom>
          <a:solidFill>
            <a:srgbClr val="0166CB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</a:pPr>
            <a:r>
              <a:rPr lang="nb-NO" sz="933" b="1">
                <a:solidFill>
                  <a:srgbClr val="FFFFFF"/>
                </a:solidFill>
                <a:latin typeface="Calibri Light"/>
              </a:rPr>
              <a:t>Økonomimodell, prosessanalyse og  arbeidsorganisering </a:t>
            </a:r>
          </a:p>
        </p:txBody>
      </p:sp>
      <p:sp>
        <p:nvSpPr>
          <p:cNvPr id="138" name="Arrow: Chevron 137">
            <a:extLst>
              <a:ext uri="{FF2B5EF4-FFF2-40B4-BE49-F238E27FC236}">
                <a16:creationId xmlns:a16="http://schemas.microsoft.com/office/drawing/2014/main" id="{481CE5E7-DE4C-4E3A-9AE5-F32605292A16}"/>
              </a:ext>
            </a:extLst>
          </p:cNvPr>
          <p:cNvSpPr/>
          <p:nvPr/>
        </p:nvSpPr>
        <p:spPr bwMode="gray">
          <a:xfrm>
            <a:off x="2594328" y="4042915"/>
            <a:ext cx="1358346" cy="507776"/>
          </a:xfrm>
          <a:prstGeom prst="chevron">
            <a:avLst/>
          </a:prstGeom>
          <a:solidFill>
            <a:srgbClr val="0166CB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</a:pPr>
            <a:r>
              <a:rPr lang="nb-NO" sz="933" b="1">
                <a:solidFill>
                  <a:srgbClr val="FFFFFF"/>
                </a:solidFill>
                <a:latin typeface="Calibri Light"/>
              </a:rPr>
              <a:t>Vurdering og beslutning</a:t>
            </a:r>
          </a:p>
        </p:txBody>
      </p:sp>
      <p:sp>
        <p:nvSpPr>
          <p:cNvPr id="145" name="Diamond 100">
            <a:extLst>
              <a:ext uri="{FF2B5EF4-FFF2-40B4-BE49-F238E27FC236}">
                <a16:creationId xmlns:a16="http://schemas.microsoft.com/office/drawing/2014/main" id="{3C6D3EF4-48F5-48B7-930C-0A26300D73CD}"/>
              </a:ext>
            </a:extLst>
          </p:cNvPr>
          <p:cNvSpPr/>
          <p:nvPr/>
        </p:nvSpPr>
        <p:spPr>
          <a:xfrm>
            <a:off x="211216" y="554296"/>
            <a:ext cx="238277" cy="240000"/>
          </a:xfrm>
          <a:prstGeom prst="rect">
            <a:avLst/>
          </a:prstGeom>
          <a:solidFill>
            <a:srgbClr val="ED80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5FDF5AE3-25E6-4968-8174-A8FE073652DE}"/>
              </a:ext>
            </a:extLst>
          </p:cNvPr>
          <p:cNvSpPr/>
          <p:nvPr/>
        </p:nvSpPr>
        <p:spPr>
          <a:xfrm>
            <a:off x="2148092" y="562783"/>
            <a:ext cx="238277" cy="240000"/>
          </a:xfrm>
          <a:prstGeom prst="rect">
            <a:avLst/>
          </a:prstGeom>
          <a:solidFill>
            <a:srgbClr val="0166CB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E5B63F5D-F3F8-42DA-B63E-9A138E50D54D}"/>
              </a:ext>
            </a:extLst>
          </p:cNvPr>
          <p:cNvSpPr txBox="1"/>
          <p:nvPr/>
        </p:nvSpPr>
        <p:spPr>
          <a:xfrm>
            <a:off x="436921" y="510150"/>
            <a:ext cx="157264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nb-NO" sz="1333">
                <a:solidFill>
                  <a:srgbClr val="000000"/>
                </a:solidFill>
                <a:latin typeface="Arial" panose="020B0604020202020204"/>
              </a:rPr>
              <a:t>Teknisk innføring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F36F4735-1599-4C87-9244-365A6B129150}"/>
              </a:ext>
            </a:extLst>
          </p:cNvPr>
          <p:cNvSpPr txBox="1"/>
          <p:nvPr/>
        </p:nvSpPr>
        <p:spPr>
          <a:xfrm>
            <a:off x="2309472" y="510150"/>
            <a:ext cx="204798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nb-NO" sz="1333">
                <a:solidFill>
                  <a:srgbClr val="000000"/>
                </a:solidFill>
                <a:latin typeface="Arial" panose="020B0604020202020204"/>
              </a:rPr>
              <a:t>Organisatorisk innføring</a:t>
            </a:r>
          </a:p>
        </p:txBody>
      </p:sp>
      <p:sp>
        <p:nvSpPr>
          <p:cNvPr id="149" name="Pil: femkant 56">
            <a:extLst>
              <a:ext uri="{FF2B5EF4-FFF2-40B4-BE49-F238E27FC236}">
                <a16:creationId xmlns:a16="http://schemas.microsoft.com/office/drawing/2014/main" id="{120B0078-69AC-42D8-ACD9-AAACC5B2B1CF}"/>
              </a:ext>
            </a:extLst>
          </p:cNvPr>
          <p:cNvSpPr/>
          <p:nvPr/>
        </p:nvSpPr>
        <p:spPr>
          <a:xfrm>
            <a:off x="26284" y="2435007"/>
            <a:ext cx="4589213" cy="384000"/>
          </a:xfrm>
          <a:prstGeom prst="homePlate">
            <a:avLst/>
          </a:prstGeom>
          <a:solidFill>
            <a:srgbClr val="ED801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defTabSz="914377">
              <a:defRPr/>
            </a:pP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Rydding i data</a:t>
            </a:r>
          </a:p>
        </p:txBody>
      </p:sp>
      <p:sp>
        <p:nvSpPr>
          <p:cNvPr id="150" name="Pil: vinkeltegn 58">
            <a:extLst>
              <a:ext uri="{FF2B5EF4-FFF2-40B4-BE49-F238E27FC236}">
                <a16:creationId xmlns:a16="http://schemas.microsoft.com/office/drawing/2014/main" id="{703EB679-7B9F-468B-B5D1-CD705CA2A66B}"/>
              </a:ext>
            </a:extLst>
          </p:cNvPr>
          <p:cNvSpPr/>
          <p:nvPr/>
        </p:nvSpPr>
        <p:spPr>
          <a:xfrm>
            <a:off x="9433137" y="2435007"/>
            <a:ext cx="1548844" cy="382348"/>
          </a:xfrm>
          <a:prstGeom prst="chevron">
            <a:avLst/>
          </a:prstGeom>
          <a:solidFill>
            <a:srgbClr val="ED801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algn="ctr" defTabSz="914377">
              <a:defRPr/>
            </a:pP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NTNU-firma</a:t>
            </a:r>
          </a:p>
        </p:txBody>
      </p:sp>
      <p:sp>
        <p:nvSpPr>
          <p:cNvPr id="151" name="Pil: vinkeltegn 61">
            <a:extLst>
              <a:ext uri="{FF2B5EF4-FFF2-40B4-BE49-F238E27FC236}">
                <a16:creationId xmlns:a16="http://schemas.microsoft.com/office/drawing/2014/main" id="{8D973AE8-E32A-4E9A-9C48-EB925374CEC8}"/>
              </a:ext>
            </a:extLst>
          </p:cNvPr>
          <p:cNvSpPr/>
          <p:nvPr/>
        </p:nvSpPr>
        <p:spPr>
          <a:xfrm>
            <a:off x="4461935" y="2435007"/>
            <a:ext cx="5113747" cy="384000"/>
          </a:xfrm>
          <a:prstGeom prst="chevron">
            <a:avLst/>
          </a:prstGeom>
          <a:solidFill>
            <a:srgbClr val="ED801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algn="ctr" defTabSz="914377">
              <a:defRPr/>
            </a:pP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Konvertering av data</a:t>
            </a:r>
          </a:p>
        </p:txBody>
      </p:sp>
      <p:sp>
        <p:nvSpPr>
          <p:cNvPr id="152" name="Pil: vinkeltegn 63">
            <a:extLst>
              <a:ext uri="{FF2B5EF4-FFF2-40B4-BE49-F238E27FC236}">
                <a16:creationId xmlns:a16="http://schemas.microsoft.com/office/drawing/2014/main" id="{7EAC0F7E-D9FC-4435-95AE-B54E3BD1FBF0}"/>
              </a:ext>
            </a:extLst>
          </p:cNvPr>
          <p:cNvSpPr/>
          <p:nvPr/>
        </p:nvSpPr>
        <p:spPr>
          <a:xfrm>
            <a:off x="7315202" y="2714339"/>
            <a:ext cx="4816868" cy="384000"/>
          </a:xfrm>
          <a:prstGeom prst="chevron">
            <a:avLst/>
          </a:prstGeom>
          <a:solidFill>
            <a:srgbClr val="ED8013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Sikker drift</a:t>
            </a:r>
          </a:p>
        </p:txBody>
      </p:sp>
      <p:sp>
        <p:nvSpPr>
          <p:cNvPr id="153" name="Pil: femkant 106">
            <a:extLst>
              <a:ext uri="{FF2B5EF4-FFF2-40B4-BE49-F238E27FC236}">
                <a16:creationId xmlns:a16="http://schemas.microsoft.com/office/drawing/2014/main" id="{D219EE98-F9AE-44C3-9027-40779AA296F6}"/>
              </a:ext>
            </a:extLst>
          </p:cNvPr>
          <p:cNvSpPr/>
          <p:nvPr/>
        </p:nvSpPr>
        <p:spPr>
          <a:xfrm>
            <a:off x="1900772" y="2714339"/>
            <a:ext cx="1304976" cy="384000"/>
          </a:xfrm>
          <a:prstGeom prst="homePlate">
            <a:avLst/>
          </a:prstGeom>
          <a:solidFill>
            <a:srgbClr val="ED8013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algn="ctr" defTabSz="914377">
              <a:defRPr/>
            </a:pP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Datainnsamling SAP</a:t>
            </a:r>
          </a:p>
        </p:txBody>
      </p:sp>
      <p:sp>
        <p:nvSpPr>
          <p:cNvPr id="154" name="Pil: vinkeltegn 107">
            <a:extLst>
              <a:ext uri="{FF2B5EF4-FFF2-40B4-BE49-F238E27FC236}">
                <a16:creationId xmlns:a16="http://schemas.microsoft.com/office/drawing/2014/main" id="{2981EED0-FC4A-437E-BD1D-ECD894237EDB}"/>
              </a:ext>
            </a:extLst>
          </p:cNvPr>
          <p:cNvSpPr/>
          <p:nvPr/>
        </p:nvSpPr>
        <p:spPr>
          <a:xfrm>
            <a:off x="3075057" y="2714339"/>
            <a:ext cx="1264376" cy="384000"/>
          </a:xfrm>
          <a:prstGeom prst="chevron">
            <a:avLst/>
          </a:prstGeom>
          <a:solidFill>
            <a:srgbClr val="ED8013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lIns="48000" rIns="48000" rtlCol="0" anchor="t"/>
          <a:lstStyle/>
          <a:p>
            <a:pPr algn="ctr" defTabSz="914377">
              <a:defRPr/>
            </a:pP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Datainnsamling </a:t>
            </a:r>
            <a:br>
              <a:rPr lang="nb-NO" sz="933" b="1" kern="0">
                <a:solidFill>
                  <a:srgbClr val="FFFFFF"/>
                </a:solidFill>
                <a:latin typeface="Calibri" panose="020F0502020204030204"/>
              </a:rPr>
            </a:b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UBW</a:t>
            </a:r>
          </a:p>
        </p:txBody>
      </p:sp>
      <p:sp>
        <p:nvSpPr>
          <p:cNvPr id="155" name="Tittel 1">
            <a:extLst>
              <a:ext uri="{FF2B5EF4-FFF2-40B4-BE49-F238E27FC236}">
                <a16:creationId xmlns:a16="http://schemas.microsoft.com/office/drawing/2014/main" id="{587591E9-D1C9-44D6-9106-F50F26AA3AAE}"/>
              </a:ext>
            </a:extLst>
          </p:cNvPr>
          <p:cNvSpPr txBox="1">
            <a:spLocks/>
          </p:cNvSpPr>
          <p:nvPr/>
        </p:nvSpPr>
        <p:spPr>
          <a:xfrm>
            <a:off x="140238" y="81358"/>
            <a:ext cx="11224996" cy="504947"/>
          </a:xfrm>
          <a:prstGeom prst="rect">
            <a:avLst/>
          </a:prstGeom>
        </p:spPr>
        <p:txBody>
          <a:bodyPr vert="horz" wrap="square" lIns="90000" tIns="46800" rIns="90000" bIns="468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defTabSz="812760"/>
            <a:r>
              <a:rPr lang="nb-NO" sz="2667">
                <a:solidFill>
                  <a:srgbClr val="000000"/>
                </a:solidFill>
              </a:rPr>
              <a:t>2021 – Aktivitetsoversikt – Innføring BOTT Økonomi og Lønn</a:t>
            </a:r>
          </a:p>
        </p:txBody>
      </p:sp>
      <p:sp>
        <p:nvSpPr>
          <p:cNvPr id="81" name="Diamond 80">
            <a:extLst>
              <a:ext uri="{FF2B5EF4-FFF2-40B4-BE49-F238E27FC236}">
                <a16:creationId xmlns:a16="http://schemas.microsoft.com/office/drawing/2014/main" id="{12402644-4305-4925-BFC4-199DB8D7560F}"/>
              </a:ext>
            </a:extLst>
          </p:cNvPr>
          <p:cNvSpPr/>
          <p:nvPr/>
        </p:nvSpPr>
        <p:spPr>
          <a:xfrm>
            <a:off x="2252732" y="3631652"/>
            <a:ext cx="238277" cy="240000"/>
          </a:xfrm>
          <a:prstGeom prst="diamond">
            <a:avLst/>
          </a:prstGeom>
          <a:solidFill>
            <a:srgbClr val="0166CB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C81B189D-9228-4ABC-AE73-45C2193DCAA7}"/>
              </a:ext>
            </a:extLst>
          </p:cNvPr>
          <p:cNvCxnSpPr>
            <a:cxnSpLocks/>
          </p:cNvCxnSpPr>
          <p:nvPr/>
        </p:nvCxnSpPr>
        <p:spPr>
          <a:xfrm>
            <a:off x="2357322" y="6033104"/>
            <a:ext cx="2734283" cy="635608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9" name="Rectangle 98">
            <a:extLst>
              <a:ext uri="{FF2B5EF4-FFF2-40B4-BE49-F238E27FC236}">
                <a16:creationId xmlns:a16="http://schemas.microsoft.com/office/drawing/2014/main" id="{6FD08289-155F-442F-8951-4504BDEE9CCC}"/>
              </a:ext>
            </a:extLst>
          </p:cNvPr>
          <p:cNvSpPr/>
          <p:nvPr/>
        </p:nvSpPr>
        <p:spPr>
          <a:xfrm>
            <a:off x="10599575" y="81357"/>
            <a:ext cx="1531316" cy="243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09585"/>
            <a:r>
              <a:rPr lang="nb-NO" sz="933" err="1">
                <a:solidFill>
                  <a:srgbClr val="000000"/>
                </a:solidFill>
                <a:latin typeface="Arial" panose="020B0604020202020204"/>
              </a:rPr>
              <a:t>Versj</a:t>
            </a:r>
            <a:r>
              <a:rPr lang="nb-NO" sz="933">
                <a:solidFill>
                  <a:srgbClr val="000000"/>
                </a:solidFill>
                <a:latin typeface="Arial" panose="020B0604020202020204"/>
              </a:rPr>
              <a:t>. dato: 11.02.2021 </a:t>
            </a:r>
          </a:p>
        </p:txBody>
      </p:sp>
    </p:spTree>
    <p:extLst>
      <p:ext uri="{BB962C8B-B14F-4D97-AF65-F5344CB8AC3E}">
        <p14:creationId xmlns:p14="http://schemas.microsoft.com/office/powerpoint/2010/main" val="36423037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1BF79C-502F-4F81-96D6-71B28749ACE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6495" r="-1"/>
          <a:stretch/>
        </p:blipFill>
        <p:spPr>
          <a:xfrm>
            <a:off x="6686550" y="0"/>
            <a:ext cx="5505450" cy="6858000"/>
          </a:xfrm>
          <a:prstGeom prst="snip2DiagRect">
            <a:avLst>
              <a:gd name="adj1" fmla="val 33218"/>
              <a:gd name="adj2" fmla="val 0"/>
            </a:avLst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9FC920B-761B-45F9-B376-BCA0DCD1E6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6200979"/>
              </p:ext>
            </p:extLst>
          </p:nvPr>
        </p:nvGraphicFramePr>
        <p:xfrm>
          <a:off x="401847" y="1211668"/>
          <a:ext cx="5414753" cy="51206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Forventninger til Kick-</a:t>
                      </a:r>
                      <a:r>
                        <a:rPr lang="nb-NO" sz="1600" err="1">
                          <a:solidFill>
                            <a:schemeClr val="tx1"/>
                          </a:solidFill>
                        </a:rPr>
                        <a:t>off</a:t>
                      </a:r>
                      <a:endParaRPr lang="nb-NO" sz="160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251633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Prosjektorganisering og kort status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969310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/>
                        <a:t>Overordnet fremdriftspla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83103521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Hva skjer innen:</a:t>
                      </a:r>
                      <a:endParaRPr lang="nb-NO" sz="1600" b="1" u="sng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5635847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- økonomimode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6483625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- BEVISS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6605733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/>
                        <a:t>- </a:t>
                      </a:r>
                      <a:r>
                        <a:rPr lang="nb-NO" sz="1600" u="none"/>
                        <a:t>systeminnførin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38864994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- </a:t>
                      </a:r>
                      <a:r>
                        <a:rPr lang="nb-NO" sz="1600" u="none"/>
                        <a:t>prosessgjennomgan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40770477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en-US" sz="1600" b="0" i="0" u="none" kern="120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ganisasjonsprosesser</a:t>
                      </a:r>
                      <a:endParaRPr lang="nb-NO" sz="16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451191049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Pause (09.10 - 09.15)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7043672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va vil dette kreve av oss?</a:t>
                      </a: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Avrunding og veien vider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740458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1BF79C-502F-4F81-96D6-71B28749ACE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6495" r="-1"/>
          <a:stretch/>
        </p:blipFill>
        <p:spPr>
          <a:xfrm>
            <a:off x="6686550" y="0"/>
            <a:ext cx="5505450" cy="6858000"/>
          </a:xfrm>
          <a:prstGeom prst="snip2DiagRect">
            <a:avLst>
              <a:gd name="adj1" fmla="val 33218"/>
              <a:gd name="adj2" fmla="val 0"/>
            </a:avLst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9FC920B-761B-45F9-B376-BCA0DCD1E6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2471358"/>
              </p:ext>
            </p:extLst>
          </p:nvPr>
        </p:nvGraphicFramePr>
        <p:xfrm>
          <a:off x="401847" y="1211668"/>
          <a:ext cx="5414753" cy="51206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Forventninger til Kick-</a:t>
                      </a:r>
                      <a:r>
                        <a:rPr lang="nb-NO" sz="1600" err="1">
                          <a:solidFill>
                            <a:schemeClr val="tx1"/>
                          </a:solidFill>
                        </a:rPr>
                        <a:t>off</a:t>
                      </a:r>
                      <a:endParaRPr lang="nb-NO" sz="160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251633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Prosjektorganisering og kort status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969310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/>
                        <a:t>Overordnet fremdriftspla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83103521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Hva skjer innen:</a:t>
                      </a:r>
                      <a:endParaRPr lang="nb-NO" sz="1600" b="0" u="sng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5635847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 u="none">
                          <a:solidFill>
                            <a:schemeClr val="bg1"/>
                          </a:solidFill>
                        </a:rPr>
                        <a:t>- økonomimode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6483625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- BEVISS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6605733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/>
                        <a:t>- </a:t>
                      </a:r>
                      <a:r>
                        <a:rPr lang="nb-NO" sz="1600" u="none"/>
                        <a:t>systeminnførin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38864994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- </a:t>
                      </a:r>
                      <a:r>
                        <a:rPr lang="nb-NO" sz="1600" u="none"/>
                        <a:t>prosessgjennomgan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40770477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en-US" sz="1600" b="0" i="0" u="none" kern="120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ganisasjonsprosesser</a:t>
                      </a:r>
                      <a:endParaRPr lang="nb-NO" sz="16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451191049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Pause (09.10 - 09.15)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7043672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va vil dette kreve av oss?</a:t>
                      </a: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Avrunding og veien vider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35453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7D5B31-60AA-4A42-A524-442886ED31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7D5B31-60AA-4A42-A524-442886ED31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E32BC15-4554-4D40-96CE-D7CCC5287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Økonomimodel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6D9DFE-88C2-49A8-B791-4E1FE22605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61990"/>
            <a:ext cx="5486400" cy="5059257"/>
          </a:xfrm>
        </p:spPr>
        <p:txBody>
          <a:bodyPr vert="horz" lIns="90000" tIns="46800" rIns="90000" bIns="46800" rtlCol="0" anchor="t">
            <a:noAutofit/>
          </a:bodyPr>
          <a:lstStyle/>
          <a:p>
            <a:pPr marL="0" indent="0" fontAlgn="base">
              <a:buNone/>
            </a:pPr>
            <a:r>
              <a:rPr lang="nn-NO" sz="1600" b="1" err="1">
                <a:solidFill>
                  <a:schemeClr val="tx2"/>
                </a:solidFill>
              </a:rPr>
              <a:t>Hvor</a:t>
            </a:r>
            <a:r>
              <a:rPr lang="nn-NO" sz="1600" b="1">
                <a:solidFill>
                  <a:schemeClr val="tx2"/>
                </a:solidFill>
              </a:rPr>
              <a:t> står vi?</a:t>
            </a:r>
          </a:p>
          <a:p>
            <a:pPr marL="456565" indent="-380365"/>
            <a:r>
              <a:rPr lang="nn-NO" sz="1400"/>
              <a:t>Har lagt et kunnskapsgrunnlag gjennom de </a:t>
            </a:r>
            <a:r>
              <a:rPr lang="nn-NO" sz="1400" err="1"/>
              <a:t>månedlige</a:t>
            </a:r>
            <a:r>
              <a:rPr lang="nn-NO" sz="1400"/>
              <a:t> </a:t>
            </a:r>
            <a:r>
              <a:rPr lang="nn-NO" sz="1400" err="1"/>
              <a:t>workshoppene</a:t>
            </a:r>
            <a:r>
              <a:rPr lang="nn-NO" sz="1400"/>
              <a:t> </a:t>
            </a:r>
          </a:p>
          <a:p>
            <a:pPr marL="989965" lvl="1" indent="-304165"/>
            <a:r>
              <a:rPr lang="nn-NO" sz="1400"/>
              <a:t>Er blitt kjent med økonomimodellen</a:t>
            </a:r>
          </a:p>
          <a:p>
            <a:pPr marL="989965" lvl="1" indent="-304165"/>
            <a:r>
              <a:rPr lang="nn-NO" sz="1400"/>
              <a:t>Har identifisert en del </a:t>
            </a:r>
            <a:r>
              <a:rPr lang="nn-NO" sz="1400" err="1"/>
              <a:t>problemstillinger</a:t>
            </a:r>
            <a:endParaRPr lang="nn-NO" sz="1400"/>
          </a:p>
          <a:p>
            <a:pPr marL="0" indent="0" fontAlgn="base">
              <a:buNone/>
            </a:pPr>
            <a:br>
              <a:rPr lang="nn-NO" sz="1600" b="1"/>
            </a:br>
            <a:r>
              <a:rPr lang="nn-NO" sz="1600" b="1" err="1">
                <a:solidFill>
                  <a:schemeClr val="tx2"/>
                </a:solidFill>
              </a:rPr>
              <a:t>Hva</a:t>
            </a:r>
            <a:r>
              <a:rPr lang="nn-NO" sz="1600" b="1">
                <a:solidFill>
                  <a:schemeClr val="tx2"/>
                </a:solidFill>
              </a:rPr>
              <a:t> skjer </a:t>
            </a:r>
            <a:r>
              <a:rPr lang="nn-NO" sz="1600" b="1" err="1">
                <a:solidFill>
                  <a:schemeClr val="tx2"/>
                </a:solidFill>
              </a:rPr>
              <a:t>fremover</a:t>
            </a:r>
            <a:r>
              <a:rPr lang="nn-NO" sz="1600" b="1">
                <a:solidFill>
                  <a:schemeClr val="tx2"/>
                </a:solidFill>
              </a:rPr>
              <a:t>?</a:t>
            </a:r>
          </a:p>
          <a:p>
            <a:pPr marL="456565" indent="-380365"/>
            <a:r>
              <a:rPr lang="nn-NO" sz="1400"/>
              <a:t>Intensivt arbeid med </a:t>
            </a:r>
            <a:r>
              <a:rPr lang="nn-NO" sz="1400" err="1"/>
              <a:t>prosjektstrukturer</a:t>
            </a:r>
            <a:r>
              <a:rPr lang="nn-NO" sz="1400"/>
              <a:t> og </a:t>
            </a:r>
            <a:r>
              <a:rPr lang="nn-NO" sz="1400" err="1"/>
              <a:t>koststedstruktur</a:t>
            </a:r>
            <a:r>
              <a:rPr lang="nn-NO" sz="1400"/>
              <a:t> feb-april for at konvertering av prosjekter og </a:t>
            </a:r>
            <a:r>
              <a:rPr lang="nn-NO" sz="1400" err="1"/>
              <a:t>koststed</a:t>
            </a:r>
            <a:r>
              <a:rPr lang="nn-NO" sz="1400"/>
              <a:t> kan </a:t>
            </a:r>
            <a:r>
              <a:rPr lang="nn-NO" sz="1400" err="1"/>
              <a:t>gjøres</a:t>
            </a:r>
            <a:r>
              <a:rPr lang="nn-NO" sz="1400"/>
              <a:t> til riktig tid</a:t>
            </a:r>
          </a:p>
          <a:p>
            <a:pPr marL="456565" indent="-380365"/>
            <a:r>
              <a:rPr lang="nn-NO" sz="1400"/>
              <a:t>Det intensive arbeidet blir gjennomført med </a:t>
            </a:r>
            <a:r>
              <a:rPr lang="nn-NO" sz="1400" err="1"/>
              <a:t>samme</a:t>
            </a:r>
            <a:r>
              <a:rPr lang="nn-NO" sz="1400"/>
              <a:t> metodikk som for prosessgjennomgang</a:t>
            </a:r>
          </a:p>
          <a:p>
            <a:pPr marL="456565" indent="-380365"/>
            <a:r>
              <a:rPr lang="nn-NO" sz="1400" err="1"/>
              <a:t>Fortsetter</a:t>
            </a:r>
            <a:r>
              <a:rPr lang="nn-NO" sz="1400"/>
              <a:t> med </a:t>
            </a:r>
            <a:r>
              <a:rPr lang="nn-NO" sz="1400" err="1"/>
              <a:t>månedlige</a:t>
            </a:r>
            <a:r>
              <a:rPr lang="nn-NO" sz="1400"/>
              <a:t> </a:t>
            </a:r>
            <a:r>
              <a:rPr lang="nn-NO" sz="1400" err="1"/>
              <a:t>workshopper</a:t>
            </a:r>
            <a:r>
              <a:rPr lang="nn-NO" sz="1400"/>
              <a:t> for å sikre å bli kjent med bruk av økonomimodellen til god økonomistyring både </a:t>
            </a:r>
            <a:r>
              <a:rPr lang="nn-NO" sz="1400" err="1"/>
              <a:t>innen</a:t>
            </a:r>
            <a:r>
              <a:rPr lang="nn-NO" sz="1400"/>
              <a:t> BFV og BOA</a:t>
            </a:r>
          </a:p>
          <a:p>
            <a:pPr marL="989965" lvl="1" indent="-380365"/>
            <a:endParaRPr lang="nn-NO" sz="1400"/>
          </a:p>
          <a:p>
            <a:pPr marL="76200" indent="0">
              <a:buNone/>
            </a:pPr>
            <a:r>
              <a:rPr lang="nn-NO" sz="1600" b="1" err="1">
                <a:solidFill>
                  <a:schemeClr val="tx2"/>
                </a:solidFill>
              </a:rPr>
              <a:t>Hva</a:t>
            </a:r>
            <a:r>
              <a:rPr lang="nn-NO" sz="1600" b="1">
                <a:solidFill>
                  <a:schemeClr val="tx2"/>
                </a:solidFill>
              </a:rPr>
              <a:t> blir viktig?</a:t>
            </a:r>
          </a:p>
          <a:p>
            <a:pPr marL="456565" indent="-380365"/>
            <a:r>
              <a:rPr lang="nn-NO" sz="1400"/>
              <a:t>Prioritere at vi i feb-april </a:t>
            </a:r>
            <a:r>
              <a:rPr lang="nn-NO" sz="1400" err="1"/>
              <a:t>jobber</a:t>
            </a:r>
            <a:r>
              <a:rPr lang="nn-NO" sz="1400"/>
              <a:t> med </a:t>
            </a:r>
            <a:r>
              <a:rPr lang="nn-NO" sz="1400" err="1"/>
              <a:t>noen</a:t>
            </a:r>
            <a:r>
              <a:rPr lang="nn-NO" sz="1400"/>
              <a:t> </a:t>
            </a:r>
            <a:r>
              <a:rPr lang="nn-NO" sz="1400" err="1"/>
              <a:t>utvalgte</a:t>
            </a:r>
            <a:r>
              <a:rPr lang="nn-NO" sz="1400"/>
              <a:t> </a:t>
            </a:r>
            <a:r>
              <a:rPr lang="nn-NO" sz="1400" err="1"/>
              <a:t>problemstillinger</a:t>
            </a:r>
            <a:r>
              <a:rPr lang="nn-NO" sz="1400"/>
              <a:t> for å sikre at økonomimodellen kan tas i bruk til riktig tid</a:t>
            </a:r>
          </a:p>
          <a:p>
            <a:pPr marL="989965" lvl="1" indent="-380365"/>
            <a:endParaRPr lang="nn-NO" sz="1400"/>
          </a:p>
          <a:p>
            <a:pPr marL="456565" indent="-456565"/>
            <a:endParaRPr lang="nb-NO" sz="16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CBF741B-F37F-482A-AAD5-D8D90D140A7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/>
          <a:stretch/>
        </p:blipFill>
        <p:spPr>
          <a:xfrm>
            <a:off x="6723253" y="1361989"/>
            <a:ext cx="4859147" cy="4859147"/>
          </a:xfrm>
          <a:prstGeom prst="snip2DiagRect">
            <a:avLst>
              <a:gd name="adj1" fmla="val 0"/>
              <a:gd name="adj2" fmla="val 23136"/>
            </a:avLst>
          </a:prstGeom>
          <a:ln w="76200"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3277329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1BF79C-502F-4F81-96D6-71B28749ACE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6495" r="-1"/>
          <a:stretch/>
        </p:blipFill>
        <p:spPr>
          <a:xfrm>
            <a:off x="6686550" y="0"/>
            <a:ext cx="5505450" cy="6858000"/>
          </a:xfrm>
          <a:prstGeom prst="snip2DiagRect">
            <a:avLst>
              <a:gd name="adj1" fmla="val 33218"/>
              <a:gd name="adj2" fmla="val 0"/>
            </a:avLst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9FC920B-761B-45F9-B376-BCA0DCD1E6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8404787"/>
              </p:ext>
            </p:extLst>
          </p:nvPr>
        </p:nvGraphicFramePr>
        <p:xfrm>
          <a:off x="401847" y="1211668"/>
          <a:ext cx="5414753" cy="51206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Forventninger til Kick-</a:t>
                      </a:r>
                      <a:r>
                        <a:rPr lang="nb-NO" sz="1600" err="1">
                          <a:solidFill>
                            <a:schemeClr val="tx1"/>
                          </a:solidFill>
                        </a:rPr>
                        <a:t>off</a:t>
                      </a:r>
                      <a:endParaRPr lang="nb-NO" sz="160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251633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Prosjektorganisering og kort status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969310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/>
                        <a:t>Overordnet fremdriftspla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83103521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Hva skjer innen:</a:t>
                      </a:r>
                      <a:endParaRPr lang="nb-NO" sz="1600" b="0" u="sng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5635847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- økonomimode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6483625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 u="none">
                          <a:solidFill>
                            <a:schemeClr val="bg1"/>
                          </a:solidFill>
                        </a:rPr>
                        <a:t>- BEVISS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05733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/>
                        <a:t>- </a:t>
                      </a:r>
                      <a:r>
                        <a:rPr lang="nb-NO" sz="1600" u="none"/>
                        <a:t>systeminnførin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38864994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- </a:t>
                      </a:r>
                      <a:r>
                        <a:rPr lang="nb-NO" sz="1600" u="none"/>
                        <a:t>prosessgjennomgan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40770477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en-US" sz="1600" b="0" i="0" u="none" kern="120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ganisasjonsprosesser</a:t>
                      </a:r>
                      <a:endParaRPr lang="nb-NO" sz="16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451191049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Pause (09.10 - 09.15)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7043672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va vil dette kreve av oss?</a:t>
                      </a: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Avrunding og veien vider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411813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937DDF-BEA5-432A-A94B-2932BBA3E0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7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937DDF-BEA5-432A-A94B-2932BBA3E0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79EC1A25-4CE9-4B3A-B47A-6D7CC302ABD2}"/>
              </a:ext>
            </a:extLst>
          </p:cNvPr>
          <p:cNvGraphicFramePr/>
          <p:nvPr/>
        </p:nvGraphicFramePr>
        <p:xfrm>
          <a:off x="15128" y="823665"/>
          <a:ext cx="12115763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6DFD5E95-316E-4236-B138-16225B5BE784}"/>
              </a:ext>
            </a:extLst>
          </p:cNvPr>
          <p:cNvCxnSpPr>
            <a:cxnSpLocks/>
            <a:stCxn id="81" idx="2"/>
          </p:cNvCxnSpPr>
          <p:nvPr/>
        </p:nvCxnSpPr>
        <p:spPr>
          <a:xfrm>
            <a:off x="2371871" y="3871652"/>
            <a:ext cx="0" cy="2173706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6" name="TextBox 95">
            <a:extLst>
              <a:ext uri="{FF2B5EF4-FFF2-40B4-BE49-F238E27FC236}">
                <a16:creationId xmlns:a16="http://schemas.microsoft.com/office/drawing/2014/main" id="{F7E87958-DBC9-45D3-8699-65D3830F529E}"/>
              </a:ext>
            </a:extLst>
          </p:cNvPr>
          <p:cNvSpPr txBox="1"/>
          <p:nvPr/>
        </p:nvSpPr>
        <p:spPr>
          <a:xfrm rot="780000">
            <a:off x="1947363" y="6059734"/>
            <a:ext cx="31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Ny arbeidsorganisering fastsatt</a:t>
            </a:r>
          </a:p>
        </p:txBody>
      </p:sp>
      <p:sp>
        <p:nvSpPr>
          <p:cNvPr id="34" name="Diamond 84">
            <a:extLst>
              <a:ext uri="{FF2B5EF4-FFF2-40B4-BE49-F238E27FC236}">
                <a16:creationId xmlns:a16="http://schemas.microsoft.com/office/drawing/2014/main" id="{F6B14935-3421-4AA9-B05C-F6799D6AF2D2}"/>
              </a:ext>
            </a:extLst>
          </p:cNvPr>
          <p:cNvSpPr/>
          <p:nvPr/>
        </p:nvSpPr>
        <p:spPr>
          <a:xfrm>
            <a:off x="10683255" y="3219373"/>
            <a:ext cx="239293" cy="243059"/>
          </a:xfrm>
          <a:prstGeom prst="diamond">
            <a:avLst/>
          </a:prstGeom>
          <a:solidFill>
            <a:srgbClr val="ED8013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5" name="Diamond 86">
            <a:extLst>
              <a:ext uri="{FF2B5EF4-FFF2-40B4-BE49-F238E27FC236}">
                <a16:creationId xmlns:a16="http://schemas.microsoft.com/office/drawing/2014/main" id="{3C190982-2666-4F0A-BDCD-8BA1EAD4F9A2}"/>
              </a:ext>
            </a:extLst>
          </p:cNvPr>
          <p:cNvSpPr/>
          <p:nvPr/>
        </p:nvSpPr>
        <p:spPr>
          <a:xfrm>
            <a:off x="9788764" y="3219373"/>
            <a:ext cx="239293" cy="243059"/>
          </a:xfrm>
          <a:prstGeom prst="diamond">
            <a:avLst/>
          </a:prstGeom>
          <a:solidFill>
            <a:srgbClr val="ED8013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2" name="Diamond 100">
            <a:extLst>
              <a:ext uri="{FF2B5EF4-FFF2-40B4-BE49-F238E27FC236}">
                <a16:creationId xmlns:a16="http://schemas.microsoft.com/office/drawing/2014/main" id="{C1D527F3-0B37-4311-A463-074DF553F344}"/>
              </a:ext>
            </a:extLst>
          </p:cNvPr>
          <p:cNvSpPr/>
          <p:nvPr/>
        </p:nvSpPr>
        <p:spPr>
          <a:xfrm>
            <a:off x="3087887" y="3222432"/>
            <a:ext cx="238277" cy="240000"/>
          </a:xfrm>
          <a:prstGeom prst="diamond">
            <a:avLst/>
          </a:prstGeom>
          <a:solidFill>
            <a:srgbClr val="ED8013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3" name="Diamond 102">
            <a:extLst>
              <a:ext uri="{FF2B5EF4-FFF2-40B4-BE49-F238E27FC236}">
                <a16:creationId xmlns:a16="http://schemas.microsoft.com/office/drawing/2014/main" id="{8E6C8B02-0BA6-47AB-9F0F-291E176487B7}"/>
              </a:ext>
            </a:extLst>
          </p:cNvPr>
          <p:cNvSpPr/>
          <p:nvPr/>
        </p:nvSpPr>
        <p:spPr>
          <a:xfrm>
            <a:off x="8469162" y="3219373"/>
            <a:ext cx="239293" cy="243059"/>
          </a:xfrm>
          <a:prstGeom prst="diamond">
            <a:avLst/>
          </a:prstGeom>
          <a:solidFill>
            <a:srgbClr val="ED8013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1" name="Diamond 100">
            <a:extLst>
              <a:ext uri="{FF2B5EF4-FFF2-40B4-BE49-F238E27FC236}">
                <a16:creationId xmlns:a16="http://schemas.microsoft.com/office/drawing/2014/main" id="{3B742A27-DCBD-4BF0-849F-5CFFE960737F}"/>
              </a:ext>
            </a:extLst>
          </p:cNvPr>
          <p:cNvSpPr/>
          <p:nvPr/>
        </p:nvSpPr>
        <p:spPr>
          <a:xfrm>
            <a:off x="4168196" y="3222432"/>
            <a:ext cx="238277" cy="240000"/>
          </a:xfrm>
          <a:prstGeom prst="diamond">
            <a:avLst/>
          </a:prstGeom>
          <a:solidFill>
            <a:srgbClr val="ED8013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83" name="Diamond 86">
            <a:extLst>
              <a:ext uri="{FF2B5EF4-FFF2-40B4-BE49-F238E27FC236}">
                <a16:creationId xmlns:a16="http://schemas.microsoft.com/office/drawing/2014/main" id="{BBF4CCFB-E4AF-4898-8E76-DDD643717BC0}"/>
              </a:ext>
            </a:extLst>
          </p:cNvPr>
          <p:cNvSpPr/>
          <p:nvPr/>
        </p:nvSpPr>
        <p:spPr>
          <a:xfrm>
            <a:off x="10196047" y="3219373"/>
            <a:ext cx="239293" cy="243059"/>
          </a:xfrm>
          <a:prstGeom prst="diamond">
            <a:avLst/>
          </a:prstGeom>
          <a:solidFill>
            <a:srgbClr val="ED8013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7A86FBE5-AC88-4136-85AD-E5662A228BC6}"/>
              </a:ext>
            </a:extLst>
          </p:cNvPr>
          <p:cNvCxnSpPr>
            <a:cxnSpLocks/>
          </p:cNvCxnSpPr>
          <p:nvPr/>
        </p:nvCxnSpPr>
        <p:spPr>
          <a:xfrm>
            <a:off x="10279451" y="3834772"/>
            <a:ext cx="0" cy="1751737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E04D334D-C636-4451-984E-843BE7818712}"/>
              </a:ext>
            </a:extLst>
          </p:cNvPr>
          <p:cNvCxnSpPr>
            <a:cxnSpLocks/>
          </p:cNvCxnSpPr>
          <p:nvPr/>
        </p:nvCxnSpPr>
        <p:spPr>
          <a:xfrm>
            <a:off x="7759724" y="3776144"/>
            <a:ext cx="0" cy="1654112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6DBD1565-3B7E-4E8D-89E1-9C955CF752F7}"/>
              </a:ext>
            </a:extLst>
          </p:cNvPr>
          <p:cNvCxnSpPr>
            <a:cxnSpLocks/>
          </p:cNvCxnSpPr>
          <p:nvPr/>
        </p:nvCxnSpPr>
        <p:spPr>
          <a:xfrm>
            <a:off x="7753091" y="5440484"/>
            <a:ext cx="1920267" cy="438525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Diamond 84">
            <a:extLst>
              <a:ext uri="{FF2B5EF4-FFF2-40B4-BE49-F238E27FC236}">
                <a16:creationId xmlns:a16="http://schemas.microsoft.com/office/drawing/2014/main" id="{B762AF84-EDD4-47A1-9EEE-496F5575496B}"/>
              </a:ext>
            </a:extLst>
          </p:cNvPr>
          <p:cNvSpPr/>
          <p:nvPr/>
        </p:nvSpPr>
        <p:spPr>
          <a:xfrm>
            <a:off x="909060" y="3644860"/>
            <a:ext cx="238277" cy="240000"/>
          </a:xfrm>
          <a:prstGeom prst="diamond">
            <a:avLst/>
          </a:prstGeom>
          <a:solidFill>
            <a:srgbClr val="0166CB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87" name="Diamond 86">
            <a:extLst>
              <a:ext uri="{FF2B5EF4-FFF2-40B4-BE49-F238E27FC236}">
                <a16:creationId xmlns:a16="http://schemas.microsoft.com/office/drawing/2014/main" id="{560F798F-A6E9-4901-9876-CEEA523CE447}"/>
              </a:ext>
            </a:extLst>
          </p:cNvPr>
          <p:cNvSpPr/>
          <p:nvPr/>
        </p:nvSpPr>
        <p:spPr>
          <a:xfrm>
            <a:off x="10161470" y="3644860"/>
            <a:ext cx="238277" cy="240000"/>
          </a:xfrm>
          <a:prstGeom prst="diamond">
            <a:avLst/>
          </a:prstGeom>
          <a:solidFill>
            <a:srgbClr val="0166CB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ED7DC317-E9F1-45EB-BFCC-F4D58E4C5F79}"/>
              </a:ext>
            </a:extLst>
          </p:cNvPr>
          <p:cNvSpPr txBox="1"/>
          <p:nvPr/>
        </p:nvSpPr>
        <p:spPr>
          <a:xfrm rot="780000">
            <a:off x="10191797" y="5366129"/>
            <a:ext cx="19869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Medarbeidere operative i nytt system</a:t>
            </a:r>
          </a:p>
        </p:txBody>
      </p:sp>
      <p:sp>
        <p:nvSpPr>
          <p:cNvPr id="89" name="Diamond 88">
            <a:extLst>
              <a:ext uri="{FF2B5EF4-FFF2-40B4-BE49-F238E27FC236}">
                <a16:creationId xmlns:a16="http://schemas.microsoft.com/office/drawing/2014/main" id="{D49CFDF3-087F-4C1E-9F2E-202136F2B887}"/>
              </a:ext>
            </a:extLst>
          </p:cNvPr>
          <p:cNvSpPr/>
          <p:nvPr/>
        </p:nvSpPr>
        <p:spPr>
          <a:xfrm>
            <a:off x="7646318" y="3644860"/>
            <a:ext cx="238277" cy="240000"/>
          </a:xfrm>
          <a:prstGeom prst="diamond">
            <a:avLst/>
          </a:prstGeom>
          <a:solidFill>
            <a:srgbClr val="0166CB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A886C205-5D8C-4B7F-98F5-9E59FBF2CE82}"/>
              </a:ext>
            </a:extLst>
          </p:cNvPr>
          <p:cNvSpPr txBox="1"/>
          <p:nvPr/>
        </p:nvSpPr>
        <p:spPr>
          <a:xfrm rot="780000">
            <a:off x="7617901" y="5355054"/>
            <a:ext cx="22272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Ansatte begynner opplæring</a:t>
            </a:r>
          </a:p>
        </p:txBody>
      </p:sp>
      <p:sp>
        <p:nvSpPr>
          <p:cNvPr id="101" name="Diamond 100">
            <a:extLst>
              <a:ext uri="{FF2B5EF4-FFF2-40B4-BE49-F238E27FC236}">
                <a16:creationId xmlns:a16="http://schemas.microsoft.com/office/drawing/2014/main" id="{5ED23661-4CFE-4A80-8273-97FFB7DEB2E0}"/>
              </a:ext>
            </a:extLst>
          </p:cNvPr>
          <p:cNvSpPr/>
          <p:nvPr/>
        </p:nvSpPr>
        <p:spPr>
          <a:xfrm>
            <a:off x="2947808" y="3644860"/>
            <a:ext cx="238277" cy="240000"/>
          </a:xfrm>
          <a:prstGeom prst="diamond">
            <a:avLst/>
          </a:prstGeom>
          <a:solidFill>
            <a:srgbClr val="0166CB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6" name="TextBox 99">
            <a:extLst>
              <a:ext uri="{FF2B5EF4-FFF2-40B4-BE49-F238E27FC236}">
                <a16:creationId xmlns:a16="http://schemas.microsoft.com/office/drawing/2014/main" id="{79CDC379-649E-4D3A-B018-809E13CBEF80}"/>
              </a:ext>
            </a:extLst>
          </p:cNvPr>
          <p:cNvSpPr txBox="1"/>
          <p:nvPr/>
        </p:nvSpPr>
        <p:spPr>
          <a:xfrm rot="780000">
            <a:off x="431653" y="1297171"/>
            <a:ext cx="31124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sz="900"/>
            </a:lvl1pPr>
          </a:lstStyle>
          <a:p>
            <a:pPr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Datainnsamling SAP gjennomført</a:t>
            </a:r>
          </a:p>
        </p:txBody>
      </p:sp>
      <p:sp>
        <p:nvSpPr>
          <p:cNvPr id="47" name="TextBox 99">
            <a:extLst>
              <a:ext uri="{FF2B5EF4-FFF2-40B4-BE49-F238E27FC236}">
                <a16:creationId xmlns:a16="http://schemas.microsoft.com/office/drawing/2014/main" id="{20E0C560-2AD5-412E-9816-C5FB5013C5B0}"/>
              </a:ext>
            </a:extLst>
          </p:cNvPr>
          <p:cNvSpPr txBox="1"/>
          <p:nvPr/>
        </p:nvSpPr>
        <p:spPr>
          <a:xfrm rot="780000">
            <a:off x="6529352" y="1550689"/>
            <a:ext cx="24350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sz="900"/>
            </a:lvl1pPr>
          </a:lstStyle>
          <a:p>
            <a:pPr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Levert </a:t>
            </a:r>
            <a:r>
              <a:rPr lang="nb-NO" sz="1200" err="1">
                <a:solidFill>
                  <a:srgbClr val="000000"/>
                </a:solidFill>
                <a:latin typeface="Arial" panose="020B0604020202020204"/>
              </a:rPr>
              <a:t>konverteringsfil</a:t>
            </a: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 til DFØ</a:t>
            </a:r>
          </a:p>
        </p:txBody>
      </p:sp>
      <p:sp>
        <p:nvSpPr>
          <p:cNvPr id="48" name="TextBox 99">
            <a:extLst>
              <a:ext uri="{FF2B5EF4-FFF2-40B4-BE49-F238E27FC236}">
                <a16:creationId xmlns:a16="http://schemas.microsoft.com/office/drawing/2014/main" id="{E9B9DBE3-D638-4019-A21D-FE0FC26FDCD1}"/>
              </a:ext>
            </a:extLst>
          </p:cNvPr>
          <p:cNvSpPr txBox="1"/>
          <p:nvPr/>
        </p:nvSpPr>
        <p:spPr>
          <a:xfrm rot="780000">
            <a:off x="7541611" y="1362697"/>
            <a:ext cx="235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sz="900"/>
            </a:lvl1pPr>
          </a:lstStyle>
          <a:p>
            <a:pPr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Konvertering godkjent av DFØ</a:t>
            </a:r>
          </a:p>
        </p:txBody>
      </p:sp>
      <p:sp>
        <p:nvSpPr>
          <p:cNvPr id="49" name="TextBox 99">
            <a:extLst>
              <a:ext uri="{FF2B5EF4-FFF2-40B4-BE49-F238E27FC236}">
                <a16:creationId xmlns:a16="http://schemas.microsoft.com/office/drawing/2014/main" id="{1DAE9251-F5E7-40CC-BAE7-A05417BA591A}"/>
              </a:ext>
            </a:extLst>
          </p:cNvPr>
          <p:cNvSpPr txBox="1"/>
          <p:nvPr/>
        </p:nvSpPr>
        <p:spPr>
          <a:xfrm rot="780000">
            <a:off x="7560105" y="834722"/>
            <a:ext cx="34827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sz="900"/>
            </a:lvl1pPr>
          </a:lstStyle>
          <a:p>
            <a:pPr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Første lønnskjøring i nytt system gjennomført</a:t>
            </a:r>
          </a:p>
        </p:txBody>
      </p:sp>
      <p:sp>
        <p:nvSpPr>
          <p:cNvPr id="52" name="TextBox 99">
            <a:extLst>
              <a:ext uri="{FF2B5EF4-FFF2-40B4-BE49-F238E27FC236}">
                <a16:creationId xmlns:a16="http://schemas.microsoft.com/office/drawing/2014/main" id="{2A679FD0-A88A-4E80-8F3D-E3FC7524CB20}"/>
              </a:ext>
            </a:extLst>
          </p:cNvPr>
          <p:cNvSpPr txBox="1"/>
          <p:nvPr/>
        </p:nvSpPr>
        <p:spPr>
          <a:xfrm rot="780000">
            <a:off x="1387612" y="1169519"/>
            <a:ext cx="32382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sz="900"/>
            </a:lvl1pPr>
          </a:lstStyle>
          <a:p>
            <a:pPr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 Datainnsamling UNIT 4 ERP gjennomført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8D240AC-22BC-4B77-A4EC-98F8920BCA50}"/>
              </a:ext>
            </a:extLst>
          </p:cNvPr>
          <p:cNvCxnSpPr>
            <a:cxnSpLocks/>
          </p:cNvCxnSpPr>
          <p:nvPr/>
        </p:nvCxnSpPr>
        <p:spPr>
          <a:xfrm flipV="1">
            <a:off x="3205749" y="1894459"/>
            <a:ext cx="0" cy="1320516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CABF263D-4B62-430F-BC36-84EFC11D3A6D}"/>
              </a:ext>
            </a:extLst>
          </p:cNvPr>
          <p:cNvCxnSpPr>
            <a:cxnSpLocks/>
          </p:cNvCxnSpPr>
          <p:nvPr/>
        </p:nvCxnSpPr>
        <p:spPr>
          <a:xfrm flipH="1" flipV="1">
            <a:off x="869497" y="1342601"/>
            <a:ext cx="2339449" cy="557867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60AB1254-4390-453F-A01F-3673692DCB3D}"/>
              </a:ext>
            </a:extLst>
          </p:cNvPr>
          <p:cNvCxnSpPr>
            <a:cxnSpLocks/>
          </p:cNvCxnSpPr>
          <p:nvPr/>
        </p:nvCxnSpPr>
        <p:spPr>
          <a:xfrm flipV="1">
            <a:off x="4286321" y="1762011"/>
            <a:ext cx="0" cy="1452964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A1E8D2F0-465F-48E3-99A0-948FCD212177}"/>
              </a:ext>
            </a:extLst>
          </p:cNvPr>
          <p:cNvCxnSpPr>
            <a:cxnSpLocks/>
          </p:cNvCxnSpPr>
          <p:nvPr/>
        </p:nvCxnSpPr>
        <p:spPr>
          <a:xfrm flipH="1" flipV="1">
            <a:off x="1527115" y="1107917"/>
            <a:ext cx="2758791" cy="634252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C3AE8D1-338E-4C83-BFD2-1AB5387F16B2}"/>
              </a:ext>
            </a:extLst>
          </p:cNvPr>
          <p:cNvCxnSpPr>
            <a:cxnSpLocks/>
          </p:cNvCxnSpPr>
          <p:nvPr/>
        </p:nvCxnSpPr>
        <p:spPr>
          <a:xfrm flipV="1">
            <a:off x="8588693" y="2060791"/>
            <a:ext cx="0" cy="1104275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709532D-5D54-490F-960F-596F9BA52F8F}"/>
              </a:ext>
            </a:extLst>
          </p:cNvPr>
          <p:cNvCxnSpPr>
            <a:cxnSpLocks/>
          </p:cNvCxnSpPr>
          <p:nvPr/>
        </p:nvCxnSpPr>
        <p:spPr>
          <a:xfrm flipH="1" flipV="1">
            <a:off x="6757078" y="1627945"/>
            <a:ext cx="1828004" cy="435907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DADCC65C-6A35-448C-9C91-28E3322EC785}"/>
              </a:ext>
            </a:extLst>
          </p:cNvPr>
          <p:cNvCxnSpPr>
            <a:cxnSpLocks/>
          </p:cNvCxnSpPr>
          <p:nvPr/>
        </p:nvCxnSpPr>
        <p:spPr>
          <a:xfrm flipV="1">
            <a:off x="9893672" y="1958735"/>
            <a:ext cx="0" cy="1206331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98ECB0A2-0418-4C90-997C-66ED14E4519B}"/>
              </a:ext>
            </a:extLst>
          </p:cNvPr>
          <p:cNvCxnSpPr>
            <a:cxnSpLocks/>
          </p:cNvCxnSpPr>
          <p:nvPr/>
        </p:nvCxnSpPr>
        <p:spPr>
          <a:xfrm flipH="1" flipV="1">
            <a:off x="7550612" y="1404148"/>
            <a:ext cx="2339449" cy="557867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1375B874-ABAC-436A-89CF-17CC4123F7BF}"/>
              </a:ext>
            </a:extLst>
          </p:cNvPr>
          <p:cNvCxnSpPr>
            <a:cxnSpLocks/>
          </p:cNvCxnSpPr>
          <p:nvPr/>
        </p:nvCxnSpPr>
        <p:spPr>
          <a:xfrm flipV="1">
            <a:off x="10797508" y="1450290"/>
            <a:ext cx="0" cy="1754932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0B40C027-49EB-4BFF-AD05-3FEE2144FFEE}"/>
              </a:ext>
            </a:extLst>
          </p:cNvPr>
          <p:cNvCxnSpPr>
            <a:cxnSpLocks/>
          </p:cNvCxnSpPr>
          <p:nvPr/>
        </p:nvCxnSpPr>
        <p:spPr>
          <a:xfrm flipH="1" flipV="1">
            <a:off x="7704244" y="738967"/>
            <a:ext cx="3089675" cy="710324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3CEDBBC-91F6-45D0-A84D-EAD6DF1DCF3E}"/>
              </a:ext>
            </a:extLst>
          </p:cNvPr>
          <p:cNvCxnSpPr>
            <a:cxnSpLocks/>
          </p:cNvCxnSpPr>
          <p:nvPr/>
        </p:nvCxnSpPr>
        <p:spPr>
          <a:xfrm>
            <a:off x="1028199" y="3782642"/>
            <a:ext cx="0" cy="2227182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888D119F-E9C9-4897-9093-87B218FFFB3A}"/>
              </a:ext>
            </a:extLst>
          </p:cNvPr>
          <p:cNvCxnSpPr>
            <a:cxnSpLocks/>
          </p:cNvCxnSpPr>
          <p:nvPr/>
        </p:nvCxnSpPr>
        <p:spPr>
          <a:xfrm>
            <a:off x="1039133" y="5995357"/>
            <a:ext cx="1695744" cy="394191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DCC42959-FB43-41B1-9B06-44178123403C}"/>
              </a:ext>
            </a:extLst>
          </p:cNvPr>
          <p:cNvSpPr txBox="1"/>
          <p:nvPr/>
        </p:nvSpPr>
        <p:spPr>
          <a:xfrm rot="780000">
            <a:off x="236781" y="5928437"/>
            <a:ext cx="35171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Felles oppstart gjennomført</a:t>
            </a:r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3FB66F6D-3923-417A-98FE-3BEC478A4403}"/>
              </a:ext>
            </a:extLst>
          </p:cNvPr>
          <p:cNvCxnSpPr>
            <a:cxnSpLocks/>
            <a:stCxn id="101" idx="2"/>
          </p:cNvCxnSpPr>
          <p:nvPr/>
        </p:nvCxnSpPr>
        <p:spPr>
          <a:xfrm flipH="1">
            <a:off x="3062958" y="3884860"/>
            <a:ext cx="3989" cy="2021243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59FA8AA8-3B39-4DEF-9B10-679644975EAC}"/>
              </a:ext>
            </a:extLst>
          </p:cNvPr>
          <p:cNvCxnSpPr>
            <a:cxnSpLocks/>
          </p:cNvCxnSpPr>
          <p:nvPr/>
        </p:nvCxnSpPr>
        <p:spPr>
          <a:xfrm>
            <a:off x="3071711" y="5916935"/>
            <a:ext cx="2734283" cy="635608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8" name="TextBox 97">
            <a:extLst>
              <a:ext uri="{FF2B5EF4-FFF2-40B4-BE49-F238E27FC236}">
                <a16:creationId xmlns:a16="http://schemas.microsoft.com/office/drawing/2014/main" id="{E479CB8E-4789-4519-809D-A7B4B42959F3}"/>
              </a:ext>
            </a:extLst>
          </p:cNvPr>
          <p:cNvSpPr txBox="1"/>
          <p:nvPr/>
        </p:nvSpPr>
        <p:spPr>
          <a:xfrm rot="780000">
            <a:off x="2889997" y="5975245"/>
            <a:ext cx="31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Endringstakt for implementering avklart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2AD441EE-ED2A-40C3-9D2A-961EEE2E52F2}"/>
              </a:ext>
            </a:extLst>
          </p:cNvPr>
          <p:cNvCxnSpPr>
            <a:cxnSpLocks/>
          </p:cNvCxnSpPr>
          <p:nvPr/>
        </p:nvCxnSpPr>
        <p:spPr>
          <a:xfrm>
            <a:off x="10278451" y="5597340"/>
            <a:ext cx="1558507" cy="369115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4" name="TextBox 99">
            <a:extLst>
              <a:ext uri="{FF2B5EF4-FFF2-40B4-BE49-F238E27FC236}">
                <a16:creationId xmlns:a16="http://schemas.microsoft.com/office/drawing/2014/main" id="{7654CDBD-2FC9-4AC8-B96B-7EC1AB418A8A}"/>
              </a:ext>
            </a:extLst>
          </p:cNvPr>
          <p:cNvSpPr txBox="1"/>
          <p:nvPr/>
        </p:nvSpPr>
        <p:spPr>
          <a:xfrm rot="780000">
            <a:off x="8671565" y="1301212"/>
            <a:ext cx="235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sz="900"/>
            </a:lvl1pPr>
          </a:lstStyle>
          <a:p>
            <a:pPr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Systembytte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44E8417D-3071-4EAA-81D0-ADE26BEF07E4}"/>
              </a:ext>
            </a:extLst>
          </p:cNvPr>
          <p:cNvCxnSpPr>
            <a:cxnSpLocks/>
          </p:cNvCxnSpPr>
          <p:nvPr/>
        </p:nvCxnSpPr>
        <p:spPr>
          <a:xfrm flipV="1">
            <a:off x="10290357" y="1703206"/>
            <a:ext cx="0" cy="1481367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14F67E81-2CE5-4A15-B32E-D6BE3F0728F9}"/>
              </a:ext>
            </a:extLst>
          </p:cNvPr>
          <p:cNvCxnSpPr>
            <a:cxnSpLocks/>
          </p:cNvCxnSpPr>
          <p:nvPr/>
        </p:nvCxnSpPr>
        <p:spPr>
          <a:xfrm flipH="1" flipV="1">
            <a:off x="9326203" y="1472423"/>
            <a:ext cx="971141" cy="231580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7" name="Diamond 96">
            <a:extLst>
              <a:ext uri="{FF2B5EF4-FFF2-40B4-BE49-F238E27FC236}">
                <a16:creationId xmlns:a16="http://schemas.microsoft.com/office/drawing/2014/main" id="{2860507D-1260-465F-BCDA-90F5D62EC502}"/>
              </a:ext>
            </a:extLst>
          </p:cNvPr>
          <p:cNvSpPr/>
          <p:nvPr/>
        </p:nvSpPr>
        <p:spPr>
          <a:xfrm>
            <a:off x="3847276" y="3592467"/>
            <a:ext cx="238277" cy="240000"/>
          </a:xfrm>
          <a:prstGeom prst="diamond">
            <a:avLst/>
          </a:prstGeom>
          <a:solidFill>
            <a:srgbClr val="0166CB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6CD9F03C-57C2-41EE-BB23-C54EF0AF1D14}"/>
              </a:ext>
            </a:extLst>
          </p:cNvPr>
          <p:cNvCxnSpPr>
            <a:cxnSpLocks/>
            <a:stCxn id="97" idx="2"/>
          </p:cNvCxnSpPr>
          <p:nvPr/>
        </p:nvCxnSpPr>
        <p:spPr>
          <a:xfrm flipH="1">
            <a:off x="3962426" y="3832467"/>
            <a:ext cx="3989" cy="1908355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36BFFC15-D45E-4B4E-AD50-78AE2B5C546F}"/>
              </a:ext>
            </a:extLst>
          </p:cNvPr>
          <p:cNvCxnSpPr>
            <a:cxnSpLocks/>
          </p:cNvCxnSpPr>
          <p:nvPr/>
        </p:nvCxnSpPr>
        <p:spPr>
          <a:xfrm>
            <a:off x="3971179" y="5751653"/>
            <a:ext cx="2734283" cy="635608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6" name="TextBox 105">
            <a:extLst>
              <a:ext uri="{FF2B5EF4-FFF2-40B4-BE49-F238E27FC236}">
                <a16:creationId xmlns:a16="http://schemas.microsoft.com/office/drawing/2014/main" id="{358E22A0-C1CF-4FFA-97E0-EC8C1CDB7638}"/>
              </a:ext>
            </a:extLst>
          </p:cNvPr>
          <p:cNvSpPr txBox="1"/>
          <p:nvPr/>
        </p:nvSpPr>
        <p:spPr>
          <a:xfrm rot="780000">
            <a:off x="3789465" y="5809963"/>
            <a:ext cx="31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Valgte organisatoriske endringer avgjort</a:t>
            </a:r>
          </a:p>
        </p:txBody>
      </p:sp>
      <p:sp>
        <p:nvSpPr>
          <p:cNvPr id="133" name="Arrow: Pentagon 132">
            <a:extLst>
              <a:ext uri="{FF2B5EF4-FFF2-40B4-BE49-F238E27FC236}">
                <a16:creationId xmlns:a16="http://schemas.microsoft.com/office/drawing/2014/main" id="{8241F6E1-FF91-44EC-B71E-A3E464FE38AE}"/>
              </a:ext>
            </a:extLst>
          </p:cNvPr>
          <p:cNvSpPr/>
          <p:nvPr/>
        </p:nvSpPr>
        <p:spPr bwMode="gray">
          <a:xfrm>
            <a:off x="59932" y="4044841"/>
            <a:ext cx="960936" cy="230015"/>
          </a:xfrm>
          <a:prstGeom prst="homePlate">
            <a:avLst/>
          </a:prstGeom>
          <a:solidFill>
            <a:srgbClr val="0166CB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</a:pPr>
            <a:r>
              <a:rPr lang="nb-NO" sz="933" b="1">
                <a:solidFill>
                  <a:srgbClr val="FFFFFF"/>
                </a:solidFill>
                <a:latin typeface="Calibri Light"/>
              </a:rPr>
              <a:t>Forankring</a:t>
            </a:r>
          </a:p>
        </p:txBody>
      </p:sp>
      <p:sp>
        <p:nvSpPr>
          <p:cNvPr id="134" name="Arrow: Chevron 133">
            <a:extLst>
              <a:ext uri="{FF2B5EF4-FFF2-40B4-BE49-F238E27FC236}">
                <a16:creationId xmlns:a16="http://schemas.microsoft.com/office/drawing/2014/main" id="{EF73A297-60EA-485E-A0AE-47E59DAF78E5}"/>
              </a:ext>
            </a:extLst>
          </p:cNvPr>
          <p:cNvSpPr/>
          <p:nvPr/>
        </p:nvSpPr>
        <p:spPr bwMode="gray">
          <a:xfrm>
            <a:off x="3739971" y="4044841"/>
            <a:ext cx="4144626" cy="497537"/>
          </a:xfrm>
          <a:prstGeom prst="chevron">
            <a:avLst/>
          </a:prstGeom>
          <a:solidFill>
            <a:srgbClr val="0166CB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</a:pPr>
            <a:r>
              <a:rPr lang="nb-NO" sz="933" b="1">
                <a:solidFill>
                  <a:srgbClr val="FFFFFF"/>
                </a:solidFill>
                <a:latin typeface="Calibri Light"/>
              </a:rPr>
              <a:t>Prosess for tilpasning av arbeidsorganisering og -deling for valgte områder</a:t>
            </a:r>
          </a:p>
        </p:txBody>
      </p:sp>
      <p:sp>
        <p:nvSpPr>
          <p:cNvPr id="135" name="Arrow: Chevron 134">
            <a:extLst>
              <a:ext uri="{FF2B5EF4-FFF2-40B4-BE49-F238E27FC236}">
                <a16:creationId xmlns:a16="http://schemas.microsoft.com/office/drawing/2014/main" id="{A34BE05D-1856-44DD-8659-FC32C4E761D1}"/>
              </a:ext>
            </a:extLst>
          </p:cNvPr>
          <p:cNvSpPr/>
          <p:nvPr/>
        </p:nvSpPr>
        <p:spPr bwMode="gray">
          <a:xfrm>
            <a:off x="7648868" y="4044841"/>
            <a:ext cx="2640336" cy="487967"/>
          </a:xfrm>
          <a:prstGeom prst="chevron">
            <a:avLst/>
          </a:prstGeom>
          <a:solidFill>
            <a:srgbClr val="0166CB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lnSpc>
                <a:spcPct val="106000"/>
              </a:lnSpc>
            </a:pPr>
            <a:r>
              <a:rPr lang="nb-NO" sz="933" b="1">
                <a:solidFill>
                  <a:srgbClr val="FFFFFF"/>
                </a:solidFill>
                <a:latin typeface="Calibri Light"/>
              </a:rPr>
              <a:t>Opplæring</a:t>
            </a:r>
          </a:p>
        </p:txBody>
      </p:sp>
      <p:sp>
        <p:nvSpPr>
          <p:cNvPr id="136" name="Arrow: Pentagon 135">
            <a:extLst>
              <a:ext uri="{FF2B5EF4-FFF2-40B4-BE49-F238E27FC236}">
                <a16:creationId xmlns:a16="http://schemas.microsoft.com/office/drawing/2014/main" id="{E89F2D7E-46F0-458B-A7FC-DFCEF5A4B0FC}"/>
              </a:ext>
            </a:extLst>
          </p:cNvPr>
          <p:cNvSpPr/>
          <p:nvPr/>
        </p:nvSpPr>
        <p:spPr bwMode="gray">
          <a:xfrm>
            <a:off x="59930" y="4303300"/>
            <a:ext cx="964441" cy="239747"/>
          </a:xfrm>
          <a:prstGeom prst="homePlate">
            <a:avLst/>
          </a:prstGeom>
          <a:solidFill>
            <a:srgbClr val="0166CB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</a:pPr>
            <a:r>
              <a:rPr lang="nb-NO" sz="933" b="1">
                <a:solidFill>
                  <a:srgbClr val="FFFFFF"/>
                </a:solidFill>
                <a:latin typeface="Calibri Light"/>
              </a:rPr>
              <a:t>Innsikt</a:t>
            </a:r>
          </a:p>
        </p:txBody>
      </p:sp>
      <p:sp>
        <p:nvSpPr>
          <p:cNvPr id="137" name="Arrow: Chevron 136">
            <a:extLst>
              <a:ext uri="{FF2B5EF4-FFF2-40B4-BE49-F238E27FC236}">
                <a16:creationId xmlns:a16="http://schemas.microsoft.com/office/drawing/2014/main" id="{CDC25C6E-76E1-46CA-AEEF-A19785038F6E}"/>
              </a:ext>
            </a:extLst>
          </p:cNvPr>
          <p:cNvSpPr/>
          <p:nvPr/>
        </p:nvSpPr>
        <p:spPr bwMode="gray">
          <a:xfrm>
            <a:off x="971682" y="4044841"/>
            <a:ext cx="1819168" cy="500645"/>
          </a:xfrm>
          <a:prstGeom prst="chevron">
            <a:avLst/>
          </a:prstGeom>
          <a:solidFill>
            <a:srgbClr val="0166CB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</a:pPr>
            <a:r>
              <a:rPr lang="nb-NO" sz="933" b="1">
                <a:solidFill>
                  <a:srgbClr val="FFFFFF"/>
                </a:solidFill>
                <a:latin typeface="Calibri Light"/>
              </a:rPr>
              <a:t>Prosessanalyse og  arbeidsorganisering </a:t>
            </a:r>
          </a:p>
        </p:txBody>
      </p:sp>
      <p:sp>
        <p:nvSpPr>
          <p:cNvPr id="138" name="Arrow: Chevron 137">
            <a:extLst>
              <a:ext uri="{FF2B5EF4-FFF2-40B4-BE49-F238E27FC236}">
                <a16:creationId xmlns:a16="http://schemas.microsoft.com/office/drawing/2014/main" id="{481CE5E7-DE4C-4E3A-9AE5-F32605292A16}"/>
              </a:ext>
            </a:extLst>
          </p:cNvPr>
          <p:cNvSpPr/>
          <p:nvPr/>
        </p:nvSpPr>
        <p:spPr bwMode="gray">
          <a:xfrm>
            <a:off x="2594328" y="4042915"/>
            <a:ext cx="1358346" cy="507776"/>
          </a:xfrm>
          <a:prstGeom prst="chevron">
            <a:avLst/>
          </a:prstGeom>
          <a:solidFill>
            <a:srgbClr val="0166CB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</a:pPr>
            <a:r>
              <a:rPr lang="nb-NO" sz="933" b="1">
                <a:solidFill>
                  <a:srgbClr val="FFFFFF"/>
                </a:solidFill>
                <a:latin typeface="Calibri Light"/>
              </a:rPr>
              <a:t>Vurdering og beslutning</a:t>
            </a:r>
          </a:p>
        </p:txBody>
      </p:sp>
      <p:sp>
        <p:nvSpPr>
          <p:cNvPr id="145" name="Diamond 100">
            <a:extLst>
              <a:ext uri="{FF2B5EF4-FFF2-40B4-BE49-F238E27FC236}">
                <a16:creationId xmlns:a16="http://schemas.microsoft.com/office/drawing/2014/main" id="{3C6D3EF4-48F5-48B7-930C-0A26300D73CD}"/>
              </a:ext>
            </a:extLst>
          </p:cNvPr>
          <p:cNvSpPr/>
          <p:nvPr/>
        </p:nvSpPr>
        <p:spPr>
          <a:xfrm>
            <a:off x="211216" y="554296"/>
            <a:ext cx="238277" cy="240000"/>
          </a:xfrm>
          <a:prstGeom prst="rect">
            <a:avLst/>
          </a:prstGeom>
          <a:solidFill>
            <a:srgbClr val="ED80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5FDF5AE3-25E6-4968-8174-A8FE073652DE}"/>
              </a:ext>
            </a:extLst>
          </p:cNvPr>
          <p:cNvSpPr/>
          <p:nvPr/>
        </p:nvSpPr>
        <p:spPr>
          <a:xfrm>
            <a:off x="2148092" y="562783"/>
            <a:ext cx="238277" cy="240000"/>
          </a:xfrm>
          <a:prstGeom prst="rect">
            <a:avLst/>
          </a:prstGeom>
          <a:solidFill>
            <a:srgbClr val="0166CB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E5B63F5D-F3F8-42DA-B63E-9A138E50D54D}"/>
              </a:ext>
            </a:extLst>
          </p:cNvPr>
          <p:cNvSpPr txBox="1"/>
          <p:nvPr/>
        </p:nvSpPr>
        <p:spPr>
          <a:xfrm>
            <a:off x="436921" y="510150"/>
            <a:ext cx="157264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nb-NO" sz="1333">
                <a:solidFill>
                  <a:srgbClr val="000000"/>
                </a:solidFill>
                <a:latin typeface="Arial" panose="020B0604020202020204"/>
              </a:rPr>
              <a:t>Teknisk innføring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F36F4735-1599-4C87-9244-365A6B129150}"/>
              </a:ext>
            </a:extLst>
          </p:cNvPr>
          <p:cNvSpPr txBox="1"/>
          <p:nvPr/>
        </p:nvSpPr>
        <p:spPr>
          <a:xfrm>
            <a:off x="2309472" y="510150"/>
            <a:ext cx="204798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nb-NO" sz="1333">
                <a:solidFill>
                  <a:srgbClr val="000000"/>
                </a:solidFill>
                <a:latin typeface="Arial" panose="020B0604020202020204"/>
              </a:rPr>
              <a:t>Organisatorisk innføring</a:t>
            </a:r>
          </a:p>
        </p:txBody>
      </p:sp>
      <p:sp>
        <p:nvSpPr>
          <p:cNvPr id="149" name="Pil: femkant 56">
            <a:extLst>
              <a:ext uri="{FF2B5EF4-FFF2-40B4-BE49-F238E27FC236}">
                <a16:creationId xmlns:a16="http://schemas.microsoft.com/office/drawing/2014/main" id="{120B0078-69AC-42D8-ACD9-AAACC5B2B1CF}"/>
              </a:ext>
            </a:extLst>
          </p:cNvPr>
          <p:cNvSpPr/>
          <p:nvPr/>
        </p:nvSpPr>
        <p:spPr>
          <a:xfrm>
            <a:off x="26284" y="2435007"/>
            <a:ext cx="4589213" cy="384000"/>
          </a:xfrm>
          <a:prstGeom prst="homePlate">
            <a:avLst/>
          </a:prstGeom>
          <a:solidFill>
            <a:srgbClr val="ED801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defTabSz="914377">
              <a:defRPr/>
            </a:pP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Rydding i data</a:t>
            </a:r>
          </a:p>
        </p:txBody>
      </p:sp>
      <p:sp>
        <p:nvSpPr>
          <p:cNvPr id="150" name="Pil: vinkeltegn 58">
            <a:extLst>
              <a:ext uri="{FF2B5EF4-FFF2-40B4-BE49-F238E27FC236}">
                <a16:creationId xmlns:a16="http://schemas.microsoft.com/office/drawing/2014/main" id="{703EB679-7B9F-468B-B5D1-CD705CA2A66B}"/>
              </a:ext>
            </a:extLst>
          </p:cNvPr>
          <p:cNvSpPr/>
          <p:nvPr/>
        </p:nvSpPr>
        <p:spPr>
          <a:xfrm>
            <a:off x="9433137" y="2435007"/>
            <a:ext cx="1548844" cy="382348"/>
          </a:xfrm>
          <a:prstGeom prst="chevron">
            <a:avLst/>
          </a:prstGeom>
          <a:solidFill>
            <a:srgbClr val="ED801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algn="ctr" defTabSz="914377">
              <a:defRPr/>
            </a:pP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NTNU-firma</a:t>
            </a:r>
          </a:p>
        </p:txBody>
      </p:sp>
      <p:sp>
        <p:nvSpPr>
          <p:cNvPr id="151" name="Pil: vinkeltegn 61">
            <a:extLst>
              <a:ext uri="{FF2B5EF4-FFF2-40B4-BE49-F238E27FC236}">
                <a16:creationId xmlns:a16="http://schemas.microsoft.com/office/drawing/2014/main" id="{8D973AE8-E32A-4E9A-9C48-EB925374CEC8}"/>
              </a:ext>
            </a:extLst>
          </p:cNvPr>
          <p:cNvSpPr/>
          <p:nvPr/>
        </p:nvSpPr>
        <p:spPr>
          <a:xfrm>
            <a:off x="4461935" y="2435007"/>
            <a:ext cx="5113747" cy="384000"/>
          </a:xfrm>
          <a:prstGeom prst="chevron">
            <a:avLst/>
          </a:prstGeom>
          <a:solidFill>
            <a:srgbClr val="ED801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algn="ctr" defTabSz="914377">
              <a:defRPr/>
            </a:pP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Konvertering av data</a:t>
            </a:r>
          </a:p>
        </p:txBody>
      </p:sp>
      <p:sp>
        <p:nvSpPr>
          <p:cNvPr id="152" name="Pil: vinkeltegn 63">
            <a:extLst>
              <a:ext uri="{FF2B5EF4-FFF2-40B4-BE49-F238E27FC236}">
                <a16:creationId xmlns:a16="http://schemas.microsoft.com/office/drawing/2014/main" id="{7EAC0F7E-D9FC-4435-95AE-B54E3BD1FBF0}"/>
              </a:ext>
            </a:extLst>
          </p:cNvPr>
          <p:cNvSpPr/>
          <p:nvPr/>
        </p:nvSpPr>
        <p:spPr>
          <a:xfrm>
            <a:off x="7315202" y="2714339"/>
            <a:ext cx="4816868" cy="384000"/>
          </a:xfrm>
          <a:prstGeom prst="chevron">
            <a:avLst/>
          </a:prstGeom>
          <a:solidFill>
            <a:srgbClr val="ED8013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Sikker drift</a:t>
            </a:r>
          </a:p>
        </p:txBody>
      </p:sp>
      <p:sp>
        <p:nvSpPr>
          <p:cNvPr id="153" name="Pil: femkant 106">
            <a:extLst>
              <a:ext uri="{FF2B5EF4-FFF2-40B4-BE49-F238E27FC236}">
                <a16:creationId xmlns:a16="http://schemas.microsoft.com/office/drawing/2014/main" id="{D219EE98-F9AE-44C3-9027-40779AA296F6}"/>
              </a:ext>
            </a:extLst>
          </p:cNvPr>
          <p:cNvSpPr/>
          <p:nvPr/>
        </p:nvSpPr>
        <p:spPr>
          <a:xfrm>
            <a:off x="1900772" y="2714339"/>
            <a:ext cx="1304976" cy="384000"/>
          </a:xfrm>
          <a:prstGeom prst="homePlate">
            <a:avLst/>
          </a:prstGeom>
          <a:solidFill>
            <a:srgbClr val="ED8013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algn="ctr" defTabSz="914377">
              <a:defRPr/>
            </a:pP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Datainnsamling SAP</a:t>
            </a:r>
          </a:p>
        </p:txBody>
      </p:sp>
      <p:sp>
        <p:nvSpPr>
          <p:cNvPr id="154" name="Pil: vinkeltegn 107">
            <a:extLst>
              <a:ext uri="{FF2B5EF4-FFF2-40B4-BE49-F238E27FC236}">
                <a16:creationId xmlns:a16="http://schemas.microsoft.com/office/drawing/2014/main" id="{2981EED0-FC4A-437E-BD1D-ECD894237EDB}"/>
              </a:ext>
            </a:extLst>
          </p:cNvPr>
          <p:cNvSpPr/>
          <p:nvPr/>
        </p:nvSpPr>
        <p:spPr>
          <a:xfrm>
            <a:off x="3075057" y="2714339"/>
            <a:ext cx="1264376" cy="384000"/>
          </a:xfrm>
          <a:prstGeom prst="chevron">
            <a:avLst/>
          </a:prstGeom>
          <a:solidFill>
            <a:srgbClr val="ED8013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lIns="48000" rIns="48000" rtlCol="0" anchor="t"/>
          <a:lstStyle/>
          <a:p>
            <a:pPr algn="ctr" defTabSz="914377">
              <a:defRPr/>
            </a:pP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Datainnsamling </a:t>
            </a:r>
            <a:br>
              <a:rPr lang="nb-NO" sz="933" b="1" kern="0">
                <a:solidFill>
                  <a:srgbClr val="FFFFFF"/>
                </a:solidFill>
                <a:latin typeface="Calibri" panose="020F0502020204030204"/>
              </a:rPr>
            </a:b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UBW</a:t>
            </a:r>
          </a:p>
        </p:txBody>
      </p:sp>
      <p:sp>
        <p:nvSpPr>
          <p:cNvPr id="155" name="Tittel 1">
            <a:extLst>
              <a:ext uri="{FF2B5EF4-FFF2-40B4-BE49-F238E27FC236}">
                <a16:creationId xmlns:a16="http://schemas.microsoft.com/office/drawing/2014/main" id="{587591E9-D1C9-44D6-9106-F50F26AA3AAE}"/>
              </a:ext>
            </a:extLst>
          </p:cNvPr>
          <p:cNvSpPr txBox="1">
            <a:spLocks/>
          </p:cNvSpPr>
          <p:nvPr/>
        </p:nvSpPr>
        <p:spPr>
          <a:xfrm>
            <a:off x="140238" y="81358"/>
            <a:ext cx="11224996" cy="504947"/>
          </a:xfrm>
          <a:prstGeom prst="rect">
            <a:avLst/>
          </a:prstGeom>
        </p:spPr>
        <p:txBody>
          <a:bodyPr vert="horz" wrap="square" lIns="90000" tIns="46800" rIns="90000" bIns="468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defTabSz="812760"/>
            <a:r>
              <a:rPr lang="nb-NO" sz="2667">
                <a:solidFill>
                  <a:srgbClr val="000000"/>
                </a:solidFill>
              </a:rPr>
              <a:t>2021 – Aktivitetsoversikt – Innføring BOTT Økonomi og Lønn</a:t>
            </a:r>
          </a:p>
        </p:txBody>
      </p:sp>
      <p:sp>
        <p:nvSpPr>
          <p:cNvPr id="81" name="Diamond 80">
            <a:extLst>
              <a:ext uri="{FF2B5EF4-FFF2-40B4-BE49-F238E27FC236}">
                <a16:creationId xmlns:a16="http://schemas.microsoft.com/office/drawing/2014/main" id="{12402644-4305-4925-BFC4-199DB8D7560F}"/>
              </a:ext>
            </a:extLst>
          </p:cNvPr>
          <p:cNvSpPr/>
          <p:nvPr/>
        </p:nvSpPr>
        <p:spPr>
          <a:xfrm>
            <a:off x="2252732" y="3631652"/>
            <a:ext cx="238277" cy="240000"/>
          </a:xfrm>
          <a:prstGeom prst="diamond">
            <a:avLst/>
          </a:prstGeom>
          <a:solidFill>
            <a:srgbClr val="0166CB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C81B189D-9228-4ABC-AE73-45C2193DCAA7}"/>
              </a:ext>
            </a:extLst>
          </p:cNvPr>
          <p:cNvCxnSpPr>
            <a:cxnSpLocks/>
          </p:cNvCxnSpPr>
          <p:nvPr/>
        </p:nvCxnSpPr>
        <p:spPr>
          <a:xfrm>
            <a:off x="2357322" y="6033104"/>
            <a:ext cx="2734283" cy="635608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9" name="Rectangle 98">
            <a:extLst>
              <a:ext uri="{FF2B5EF4-FFF2-40B4-BE49-F238E27FC236}">
                <a16:creationId xmlns:a16="http://schemas.microsoft.com/office/drawing/2014/main" id="{6FD08289-155F-442F-8951-4504BDEE9CCC}"/>
              </a:ext>
            </a:extLst>
          </p:cNvPr>
          <p:cNvSpPr/>
          <p:nvPr/>
        </p:nvSpPr>
        <p:spPr>
          <a:xfrm>
            <a:off x="10599575" y="81357"/>
            <a:ext cx="1531316" cy="243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09585"/>
            <a:r>
              <a:rPr lang="nb-NO" sz="933" err="1">
                <a:solidFill>
                  <a:srgbClr val="000000"/>
                </a:solidFill>
                <a:latin typeface="Arial" panose="020B0604020202020204"/>
              </a:rPr>
              <a:t>Versj</a:t>
            </a:r>
            <a:r>
              <a:rPr lang="nb-NO" sz="933">
                <a:solidFill>
                  <a:srgbClr val="000000"/>
                </a:solidFill>
                <a:latin typeface="Arial" panose="020B0604020202020204"/>
              </a:rPr>
              <a:t>. dato: 11.02.2021 </a:t>
            </a:r>
          </a:p>
        </p:txBody>
      </p:sp>
    </p:spTree>
    <p:extLst>
      <p:ext uri="{BB962C8B-B14F-4D97-AF65-F5344CB8AC3E}">
        <p14:creationId xmlns:p14="http://schemas.microsoft.com/office/powerpoint/2010/main" val="18011248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5077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E3F3D6-E0A0-4DBF-9DF4-5ECE52D6A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ort før vi begynner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BD5E1B-33C2-438B-ADF1-B1B19A71D65F}"/>
              </a:ext>
            </a:extLst>
          </p:cNvPr>
          <p:cNvGrpSpPr/>
          <p:nvPr/>
        </p:nvGrpSpPr>
        <p:grpSpPr>
          <a:xfrm>
            <a:off x="484446" y="1921801"/>
            <a:ext cx="3580704" cy="2959995"/>
            <a:chOff x="317191" y="1620719"/>
            <a:chExt cx="3580704" cy="2959995"/>
          </a:xfrm>
        </p:grpSpPr>
        <p:pic>
          <p:nvPicPr>
            <p:cNvPr id="7" name="Graphic 6" descr="Information">
              <a:extLst>
                <a:ext uri="{FF2B5EF4-FFF2-40B4-BE49-F238E27FC236}">
                  <a16:creationId xmlns:a16="http://schemas.microsoft.com/office/drawing/2014/main" id="{C05648B7-7E93-4424-ADCA-A2A638BE1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21577" y="1620719"/>
              <a:ext cx="1791442" cy="1791441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64D2262-1BF8-41B7-A62B-C3953D60E089}"/>
                </a:ext>
              </a:extLst>
            </p:cNvPr>
            <p:cNvSpPr/>
            <p:nvPr/>
          </p:nvSpPr>
          <p:spPr>
            <a:xfrm>
              <a:off x="317191" y="3380385"/>
              <a:ext cx="3580704" cy="1200329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nb-NO"/>
                <a:t>Vi skal dele mye informasjon med dere i dag. Presentasjon blir lagt ut i etterkant. Og vi har satt av god til spørsmål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7D8ED19-9960-4B74-B005-A4B46ABE50F3}"/>
              </a:ext>
            </a:extLst>
          </p:cNvPr>
          <p:cNvGrpSpPr/>
          <p:nvPr/>
        </p:nvGrpSpPr>
        <p:grpSpPr>
          <a:xfrm>
            <a:off x="8239602" y="1921801"/>
            <a:ext cx="3580704" cy="3236994"/>
            <a:chOff x="8406858" y="1620719"/>
            <a:chExt cx="3580704" cy="3236994"/>
          </a:xfrm>
        </p:grpSpPr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917E1E28-4D47-441C-BF02-80995E9F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295479" y="1620719"/>
              <a:ext cx="1791442" cy="1791441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8B9C46-76B4-4278-89A2-5D0051F2489D}"/>
                </a:ext>
              </a:extLst>
            </p:cNvPr>
            <p:cNvSpPr/>
            <p:nvPr/>
          </p:nvSpPr>
          <p:spPr>
            <a:xfrm>
              <a:off x="8406858" y="3380385"/>
              <a:ext cx="3580704" cy="1477328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nb-NO"/>
                <a:t>Vi til gjøre opptak av økten for å tilgjengeliggjøre den for alle i etterkant. Om du ikke vil være med på opptaket, må du skru av kameraet.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BFAB41-6732-4893-AFB9-3D7DC5223560}"/>
              </a:ext>
            </a:extLst>
          </p:cNvPr>
          <p:cNvGrpSpPr/>
          <p:nvPr/>
        </p:nvGrpSpPr>
        <p:grpSpPr>
          <a:xfrm>
            <a:off x="4362024" y="1921801"/>
            <a:ext cx="3580704" cy="2959995"/>
            <a:chOff x="4362024" y="1620719"/>
            <a:chExt cx="3580704" cy="2959995"/>
          </a:xfrm>
        </p:grpSpPr>
        <p:pic>
          <p:nvPicPr>
            <p:cNvPr id="11" name="Graphic 10" descr="Radio microphone">
              <a:extLst>
                <a:ext uri="{FF2B5EF4-FFF2-40B4-BE49-F238E27FC236}">
                  <a16:creationId xmlns:a16="http://schemas.microsoft.com/office/drawing/2014/main" id="{72B72DDA-A44F-47A9-A947-702CD79AC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256655" y="1620719"/>
              <a:ext cx="1791442" cy="179144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2C2CD8-3CCB-46AC-8E7D-8FE36AD32298}"/>
                </a:ext>
              </a:extLst>
            </p:cNvPr>
            <p:cNvSpPr/>
            <p:nvPr/>
          </p:nvSpPr>
          <p:spPr>
            <a:xfrm>
              <a:off x="4362024" y="3380385"/>
              <a:ext cx="3580704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nb-NO"/>
                <a:t>Vi er mange deltagere – husk å dempe mikrofonen. Det blir mulighet til å stille spørsmål via </a:t>
              </a:r>
              <a:r>
                <a:rPr lang="nb-NO" err="1"/>
                <a:t>mentimeter</a:t>
              </a:r>
              <a:r>
                <a:rPr lang="nb-NO"/>
                <a:t>.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749654-D5E7-4FB6-B9BF-F35DC6D47528}"/>
                </a:ext>
              </a:extLst>
            </p:cNvPr>
            <p:cNvCxnSpPr/>
            <p:nvPr/>
          </p:nvCxnSpPr>
          <p:spPr>
            <a:xfrm flipV="1">
              <a:off x="5533251" y="1881427"/>
              <a:ext cx="1238250" cy="123825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729892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C5B9C632-2902-4CA7-B120-FF8B31C4C7B9}"/>
              </a:ext>
            </a:extLst>
          </p:cNvPr>
          <p:cNvCxnSpPr>
            <a:cxnSpLocks/>
          </p:cNvCxnSpPr>
          <p:nvPr/>
        </p:nvCxnSpPr>
        <p:spPr>
          <a:xfrm flipH="1">
            <a:off x="9934321" y="3835150"/>
            <a:ext cx="25816" cy="2407182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937DDF-BEA5-432A-A94B-2932BBA3E0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1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937DDF-BEA5-432A-A94B-2932BBA3E0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79EC1A25-4CE9-4B3A-B47A-6D7CC302ABD2}"/>
              </a:ext>
            </a:extLst>
          </p:cNvPr>
          <p:cNvGraphicFramePr/>
          <p:nvPr/>
        </p:nvGraphicFramePr>
        <p:xfrm>
          <a:off x="15128" y="823665"/>
          <a:ext cx="12115763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6DFD5E95-316E-4236-B138-16225B5BE784}"/>
              </a:ext>
            </a:extLst>
          </p:cNvPr>
          <p:cNvCxnSpPr>
            <a:cxnSpLocks/>
            <a:stCxn id="81" idx="2"/>
          </p:cNvCxnSpPr>
          <p:nvPr/>
        </p:nvCxnSpPr>
        <p:spPr>
          <a:xfrm>
            <a:off x="2371871" y="3871652"/>
            <a:ext cx="0" cy="2173706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6" name="TextBox 95">
            <a:extLst>
              <a:ext uri="{FF2B5EF4-FFF2-40B4-BE49-F238E27FC236}">
                <a16:creationId xmlns:a16="http://schemas.microsoft.com/office/drawing/2014/main" id="{F7E87958-DBC9-45D3-8699-65D3830F529E}"/>
              </a:ext>
            </a:extLst>
          </p:cNvPr>
          <p:cNvSpPr txBox="1"/>
          <p:nvPr/>
        </p:nvSpPr>
        <p:spPr>
          <a:xfrm rot="780000">
            <a:off x="1947363" y="6059734"/>
            <a:ext cx="31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Ny arbeidsorganisering fastsatt</a:t>
            </a:r>
          </a:p>
        </p:txBody>
      </p:sp>
      <p:sp>
        <p:nvSpPr>
          <p:cNvPr id="34" name="Diamond 84">
            <a:extLst>
              <a:ext uri="{FF2B5EF4-FFF2-40B4-BE49-F238E27FC236}">
                <a16:creationId xmlns:a16="http://schemas.microsoft.com/office/drawing/2014/main" id="{F6B14935-3421-4AA9-B05C-F6799D6AF2D2}"/>
              </a:ext>
            </a:extLst>
          </p:cNvPr>
          <p:cNvSpPr/>
          <p:nvPr/>
        </p:nvSpPr>
        <p:spPr>
          <a:xfrm>
            <a:off x="10683255" y="3219373"/>
            <a:ext cx="239293" cy="243059"/>
          </a:xfrm>
          <a:prstGeom prst="diamond">
            <a:avLst/>
          </a:prstGeom>
          <a:solidFill>
            <a:srgbClr val="ED8013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5" name="Diamond 86">
            <a:extLst>
              <a:ext uri="{FF2B5EF4-FFF2-40B4-BE49-F238E27FC236}">
                <a16:creationId xmlns:a16="http://schemas.microsoft.com/office/drawing/2014/main" id="{3C190982-2666-4F0A-BDCD-8BA1EAD4F9A2}"/>
              </a:ext>
            </a:extLst>
          </p:cNvPr>
          <p:cNvSpPr/>
          <p:nvPr/>
        </p:nvSpPr>
        <p:spPr>
          <a:xfrm>
            <a:off x="9788764" y="3219373"/>
            <a:ext cx="239293" cy="243059"/>
          </a:xfrm>
          <a:prstGeom prst="diamond">
            <a:avLst/>
          </a:prstGeom>
          <a:solidFill>
            <a:srgbClr val="ED8013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2" name="Diamond 100">
            <a:extLst>
              <a:ext uri="{FF2B5EF4-FFF2-40B4-BE49-F238E27FC236}">
                <a16:creationId xmlns:a16="http://schemas.microsoft.com/office/drawing/2014/main" id="{C1D527F3-0B37-4311-A463-074DF553F344}"/>
              </a:ext>
            </a:extLst>
          </p:cNvPr>
          <p:cNvSpPr/>
          <p:nvPr/>
        </p:nvSpPr>
        <p:spPr>
          <a:xfrm>
            <a:off x="3087887" y="3222432"/>
            <a:ext cx="238277" cy="240000"/>
          </a:xfrm>
          <a:prstGeom prst="diamond">
            <a:avLst/>
          </a:prstGeom>
          <a:solidFill>
            <a:srgbClr val="ED8013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3" name="Diamond 102">
            <a:extLst>
              <a:ext uri="{FF2B5EF4-FFF2-40B4-BE49-F238E27FC236}">
                <a16:creationId xmlns:a16="http://schemas.microsoft.com/office/drawing/2014/main" id="{8E6C8B02-0BA6-47AB-9F0F-291E176487B7}"/>
              </a:ext>
            </a:extLst>
          </p:cNvPr>
          <p:cNvSpPr/>
          <p:nvPr/>
        </p:nvSpPr>
        <p:spPr>
          <a:xfrm>
            <a:off x="8469162" y="3219373"/>
            <a:ext cx="239293" cy="243059"/>
          </a:xfrm>
          <a:prstGeom prst="diamond">
            <a:avLst/>
          </a:prstGeom>
          <a:solidFill>
            <a:srgbClr val="ED8013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1" name="Diamond 100">
            <a:extLst>
              <a:ext uri="{FF2B5EF4-FFF2-40B4-BE49-F238E27FC236}">
                <a16:creationId xmlns:a16="http://schemas.microsoft.com/office/drawing/2014/main" id="{3B742A27-DCBD-4BF0-849F-5CFFE960737F}"/>
              </a:ext>
            </a:extLst>
          </p:cNvPr>
          <p:cNvSpPr/>
          <p:nvPr/>
        </p:nvSpPr>
        <p:spPr>
          <a:xfrm>
            <a:off x="4168196" y="3222432"/>
            <a:ext cx="238277" cy="240000"/>
          </a:xfrm>
          <a:prstGeom prst="diamond">
            <a:avLst/>
          </a:prstGeom>
          <a:solidFill>
            <a:srgbClr val="ED8013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83" name="Diamond 86">
            <a:extLst>
              <a:ext uri="{FF2B5EF4-FFF2-40B4-BE49-F238E27FC236}">
                <a16:creationId xmlns:a16="http://schemas.microsoft.com/office/drawing/2014/main" id="{BBF4CCFB-E4AF-4898-8E76-DDD643717BC0}"/>
              </a:ext>
            </a:extLst>
          </p:cNvPr>
          <p:cNvSpPr/>
          <p:nvPr/>
        </p:nvSpPr>
        <p:spPr>
          <a:xfrm>
            <a:off x="10196047" y="3219373"/>
            <a:ext cx="239293" cy="243059"/>
          </a:xfrm>
          <a:prstGeom prst="diamond">
            <a:avLst/>
          </a:prstGeom>
          <a:solidFill>
            <a:srgbClr val="ED8013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7A86FBE5-AC88-4136-85AD-E5662A228BC6}"/>
              </a:ext>
            </a:extLst>
          </p:cNvPr>
          <p:cNvCxnSpPr>
            <a:cxnSpLocks/>
          </p:cNvCxnSpPr>
          <p:nvPr/>
        </p:nvCxnSpPr>
        <p:spPr>
          <a:xfrm>
            <a:off x="10279451" y="3834772"/>
            <a:ext cx="0" cy="1751737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E04D334D-C636-4451-984E-843BE7818712}"/>
              </a:ext>
            </a:extLst>
          </p:cNvPr>
          <p:cNvCxnSpPr>
            <a:cxnSpLocks/>
          </p:cNvCxnSpPr>
          <p:nvPr/>
        </p:nvCxnSpPr>
        <p:spPr>
          <a:xfrm>
            <a:off x="7759724" y="3776144"/>
            <a:ext cx="0" cy="1654112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6DBD1565-3B7E-4E8D-89E1-9C955CF752F7}"/>
              </a:ext>
            </a:extLst>
          </p:cNvPr>
          <p:cNvCxnSpPr>
            <a:cxnSpLocks/>
          </p:cNvCxnSpPr>
          <p:nvPr/>
        </p:nvCxnSpPr>
        <p:spPr>
          <a:xfrm>
            <a:off x="7753091" y="5440484"/>
            <a:ext cx="1920267" cy="438525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Diamond 84">
            <a:extLst>
              <a:ext uri="{FF2B5EF4-FFF2-40B4-BE49-F238E27FC236}">
                <a16:creationId xmlns:a16="http://schemas.microsoft.com/office/drawing/2014/main" id="{B762AF84-EDD4-47A1-9EEE-496F5575496B}"/>
              </a:ext>
            </a:extLst>
          </p:cNvPr>
          <p:cNvSpPr/>
          <p:nvPr/>
        </p:nvSpPr>
        <p:spPr>
          <a:xfrm>
            <a:off x="909060" y="3644860"/>
            <a:ext cx="238277" cy="240000"/>
          </a:xfrm>
          <a:prstGeom prst="diamond">
            <a:avLst/>
          </a:prstGeom>
          <a:solidFill>
            <a:srgbClr val="0166CB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87" name="Diamond 86">
            <a:extLst>
              <a:ext uri="{FF2B5EF4-FFF2-40B4-BE49-F238E27FC236}">
                <a16:creationId xmlns:a16="http://schemas.microsoft.com/office/drawing/2014/main" id="{560F798F-A6E9-4901-9876-CEEA523CE447}"/>
              </a:ext>
            </a:extLst>
          </p:cNvPr>
          <p:cNvSpPr/>
          <p:nvPr/>
        </p:nvSpPr>
        <p:spPr>
          <a:xfrm>
            <a:off x="10161470" y="3644860"/>
            <a:ext cx="238277" cy="240000"/>
          </a:xfrm>
          <a:prstGeom prst="diamond">
            <a:avLst/>
          </a:prstGeom>
          <a:solidFill>
            <a:srgbClr val="0166CB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ED7DC317-E9F1-45EB-BFCC-F4D58E4C5F79}"/>
              </a:ext>
            </a:extLst>
          </p:cNvPr>
          <p:cNvSpPr txBox="1"/>
          <p:nvPr/>
        </p:nvSpPr>
        <p:spPr>
          <a:xfrm rot="780000">
            <a:off x="10191797" y="5366129"/>
            <a:ext cx="19869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Medarbeidere operative i nytt system</a:t>
            </a:r>
          </a:p>
        </p:txBody>
      </p:sp>
      <p:sp>
        <p:nvSpPr>
          <p:cNvPr id="89" name="Diamond 88">
            <a:extLst>
              <a:ext uri="{FF2B5EF4-FFF2-40B4-BE49-F238E27FC236}">
                <a16:creationId xmlns:a16="http://schemas.microsoft.com/office/drawing/2014/main" id="{D49CFDF3-087F-4C1E-9F2E-202136F2B887}"/>
              </a:ext>
            </a:extLst>
          </p:cNvPr>
          <p:cNvSpPr/>
          <p:nvPr/>
        </p:nvSpPr>
        <p:spPr>
          <a:xfrm>
            <a:off x="7646318" y="3644860"/>
            <a:ext cx="238277" cy="240000"/>
          </a:xfrm>
          <a:prstGeom prst="diamond">
            <a:avLst/>
          </a:prstGeom>
          <a:solidFill>
            <a:srgbClr val="0166CB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A886C205-5D8C-4B7F-98F5-9E59FBF2CE82}"/>
              </a:ext>
            </a:extLst>
          </p:cNvPr>
          <p:cNvSpPr txBox="1"/>
          <p:nvPr/>
        </p:nvSpPr>
        <p:spPr>
          <a:xfrm rot="780000">
            <a:off x="7617901" y="5355054"/>
            <a:ext cx="22272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Ansatte begynner opplæring</a:t>
            </a:r>
          </a:p>
        </p:txBody>
      </p:sp>
      <p:sp>
        <p:nvSpPr>
          <p:cNvPr id="101" name="Diamond 100">
            <a:extLst>
              <a:ext uri="{FF2B5EF4-FFF2-40B4-BE49-F238E27FC236}">
                <a16:creationId xmlns:a16="http://schemas.microsoft.com/office/drawing/2014/main" id="{5ED23661-4CFE-4A80-8273-97FFB7DEB2E0}"/>
              </a:ext>
            </a:extLst>
          </p:cNvPr>
          <p:cNvSpPr/>
          <p:nvPr/>
        </p:nvSpPr>
        <p:spPr>
          <a:xfrm>
            <a:off x="2947808" y="3644860"/>
            <a:ext cx="238277" cy="240000"/>
          </a:xfrm>
          <a:prstGeom prst="diamond">
            <a:avLst/>
          </a:prstGeom>
          <a:solidFill>
            <a:srgbClr val="0166CB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6" name="TextBox 99">
            <a:extLst>
              <a:ext uri="{FF2B5EF4-FFF2-40B4-BE49-F238E27FC236}">
                <a16:creationId xmlns:a16="http://schemas.microsoft.com/office/drawing/2014/main" id="{79CDC379-649E-4D3A-B018-809E13CBEF80}"/>
              </a:ext>
            </a:extLst>
          </p:cNvPr>
          <p:cNvSpPr txBox="1"/>
          <p:nvPr/>
        </p:nvSpPr>
        <p:spPr>
          <a:xfrm rot="780000">
            <a:off x="431653" y="1297171"/>
            <a:ext cx="31124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sz="900"/>
            </a:lvl1pPr>
          </a:lstStyle>
          <a:p>
            <a:pPr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Datainnsamling SAP gjennomført</a:t>
            </a:r>
          </a:p>
        </p:txBody>
      </p:sp>
      <p:sp>
        <p:nvSpPr>
          <p:cNvPr id="47" name="TextBox 99">
            <a:extLst>
              <a:ext uri="{FF2B5EF4-FFF2-40B4-BE49-F238E27FC236}">
                <a16:creationId xmlns:a16="http://schemas.microsoft.com/office/drawing/2014/main" id="{20E0C560-2AD5-412E-9816-C5FB5013C5B0}"/>
              </a:ext>
            </a:extLst>
          </p:cNvPr>
          <p:cNvSpPr txBox="1"/>
          <p:nvPr/>
        </p:nvSpPr>
        <p:spPr>
          <a:xfrm rot="780000">
            <a:off x="6529352" y="1550689"/>
            <a:ext cx="24350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sz="900"/>
            </a:lvl1pPr>
          </a:lstStyle>
          <a:p>
            <a:pPr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Levert </a:t>
            </a:r>
            <a:r>
              <a:rPr lang="nb-NO" sz="1200" err="1">
                <a:solidFill>
                  <a:srgbClr val="000000"/>
                </a:solidFill>
                <a:latin typeface="Arial" panose="020B0604020202020204"/>
              </a:rPr>
              <a:t>konverteringsfil</a:t>
            </a: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 til DFØ</a:t>
            </a:r>
          </a:p>
        </p:txBody>
      </p:sp>
      <p:sp>
        <p:nvSpPr>
          <p:cNvPr id="48" name="TextBox 99">
            <a:extLst>
              <a:ext uri="{FF2B5EF4-FFF2-40B4-BE49-F238E27FC236}">
                <a16:creationId xmlns:a16="http://schemas.microsoft.com/office/drawing/2014/main" id="{E9B9DBE3-D638-4019-A21D-FE0FC26FDCD1}"/>
              </a:ext>
            </a:extLst>
          </p:cNvPr>
          <p:cNvSpPr txBox="1"/>
          <p:nvPr/>
        </p:nvSpPr>
        <p:spPr>
          <a:xfrm rot="780000">
            <a:off x="7541611" y="1362697"/>
            <a:ext cx="235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sz="900"/>
            </a:lvl1pPr>
          </a:lstStyle>
          <a:p>
            <a:pPr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Konvertering godkjent av DFØ</a:t>
            </a:r>
          </a:p>
        </p:txBody>
      </p:sp>
      <p:sp>
        <p:nvSpPr>
          <p:cNvPr id="49" name="TextBox 99">
            <a:extLst>
              <a:ext uri="{FF2B5EF4-FFF2-40B4-BE49-F238E27FC236}">
                <a16:creationId xmlns:a16="http://schemas.microsoft.com/office/drawing/2014/main" id="{1DAE9251-F5E7-40CC-BAE7-A05417BA591A}"/>
              </a:ext>
            </a:extLst>
          </p:cNvPr>
          <p:cNvSpPr txBox="1"/>
          <p:nvPr/>
        </p:nvSpPr>
        <p:spPr>
          <a:xfrm rot="780000">
            <a:off x="7560105" y="834722"/>
            <a:ext cx="34827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sz="900"/>
            </a:lvl1pPr>
          </a:lstStyle>
          <a:p>
            <a:pPr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Første lønnskjøring i nytt system gjennomført</a:t>
            </a:r>
          </a:p>
        </p:txBody>
      </p:sp>
      <p:sp>
        <p:nvSpPr>
          <p:cNvPr id="52" name="TextBox 99">
            <a:extLst>
              <a:ext uri="{FF2B5EF4-FFF2-40B4-BE49-F238E27FC236}">
                <a16:creationId xmlns:a16="http://schemas.microsoft.com/office/drawing/2014/main" id="{2A679FD0-A88A-4E80-8F3D-E3FC7524CB20}"/>
              </a:ext>
            </a:extLst>
          </p:cNvPr>
          <p:cNvSpPr txBox="1"/>
          <p:nvPr/>
        </p:nvSpPr>
        <p:spPr>
          <a:xfrm rot="780000">
            <a:off x="1387612" y="1169519"/>
            <a:ext cx="32382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sz="900"/>
            </a:lvl1pPr>
          </a:lstStyle>
          <a:p>
            <a:pPr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 Datainnsamling UNIT 4 ERP gjennomført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8D240AC-22BC-4B77-A4EC-98F8920BCA50}"/>
              </a:ext>
            </a:extLst>
          </p:cNvPr>
          <p:cNvCxnSpPr>
            <a:cxnSpLocks/>
          </p:cNvCxnSpPr>
          <p:nvPr/>
        </p:nvCxnSpPr>
        <p:spPr>
          <a:xfrm flipV="1">
            <a:off x="3205749" y="1894459"/>
            <a:ext cx="0" cy="1320516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CABF263D-4B62-430F-BC36-84EFC11D3A6D}"/>
              </a:ext>
            </a:extLst>
          </p:cNvPr>
          <p:cNvCxnSpPr>
            <a:cxnSpLocks/>
          </p:cNvCxnSpPr>
          <p:nvPr/>
        </p:nvCxnSpPr>
        <p:spPr>
          <a:xfrm flipH="1" flipV="1">
            <a:off x="869497" y="1342601"/>
            <a:ext cx="2339449" cy="557867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60AB1254-4390-453F-A01F-3673692DCB3D}"/>
              </a:ext>
            </a:extLst>
          </p:cNvPr>
          <p:cNvCxnSpPr>
            <a:cxnSpLocks/>
          </p:cNvCxnSpPr>
          <p:nvPr/>
        </p:nvCxnSpPr>
        <p:spPr>
          <a:xfrm flipV="1">
            <a:off x="4286321" y="1762011"/>
            <a:ext cx="0" cy="1452964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A1E8D2F0-465F-48E3-99A0-948FCD212177}"/>
              </a:ext>
            </a:extLst>
          </p:cNvPr>
          <p:cNvCxnSpPr>
            <a:cxnSpLocks/>
          </p:cNvCxnSpPr>
          <p:nvPr/>
        </p:nvCxnSpPr>
        <p:spPr>
          <a:xfrm flipH="1" flipV="1">
            <a:off x="1527115" y="1107917"/>
            <a:ext cx="2758791" cy="634252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C3AE8D1-338E-4C83-BFD2-1AB5387F16B2}"/>
              </a:ext>
            </a:extLst>
          </p:cNvPr>
          <p:cNvCxnSpPr>
            <a:cxnSpLocks/>
          </p:cNvCxnSpPr>
          <p:nvPr/>
        </p:nvCxnSpPr>
        <p:spPr>
          <a:xfrm flipV="1">
            <a:off x="8588693" y="2060791"/>
            <a:ext cx="0" cy="1104275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709532D-5D54-490F-960F-596F9BA52F8F}"/>
              </a:ext>
            </a:extLst>
          </p:cNvPr>
          <p:cNvCxnSpPr>
            <a:cxnSpLocks/>
          </p:cNvCxnSpPr>
          <p:nvPr/>
        </p:nvCxnSpPr>
        <p:spPr>
          <a:xfrm flipH="1" flipV="1">
            <a:off x="6757078" y="1627945"/>
            <a:ext cx="1828004" cy="435907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DADCC65C-6A35-448C-9C91-28E3322EC785}"/>
              </a:ext>
            </a:extLst>
          </p:cNvPr>
          <p:cNvCxnSpPr>
            <a:cxnSpLocks/>
          </p:cNvCxnSpPr>
          <p:nvPr/>
        </p:nvCxnSpPr>
        <p:spPr>
          <a:xfrm flipV="1">
            <a:off x="9893672" y="1958735"/>
            <a:ext cx="0" cy="1206331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98ECB0A2-0418-4C90-997C-66ED14E4519B}"/>
              </a:ext>
            </a:extLst>
          </p:cNvPr>
          <p:cNvCxnSpPr>
            <a:cxnSpLocks/>
          </p:cNvCxnSpPr>
          <p:nvPr/>
        </p:nvCxnSpPr>
        <p:spPr>
          <a:xfrm flipH="1" flipV="1">
            <a:off x="7550612" y="1404148"/>
            <a:ext cx="2339449" cy="557867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1375B874-ABAC-436A-89CF-17CC4123F7BF}"/>
              </a:ext>
            </a:extLst>
          </p:cNvPr>
          <p:cNvCxnSpPr>
            <a:cxnSpLocks/>
          </p:cNvCxnSpPr>
          <p:nvPr/>
        </p:nvCxnSpPr>
        <p:spPr>
          <a:xfrm flipV="1">
            <a:off x="10797508" y="1450290"/>
            <a:ext cx="0" cy="1754932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0B40C027-49EB-4BFF-AD05-3FEE2144FFEE}"/>
              </a:ext>
            </a:extLst>
          </p:cNvPr>
          <p:cNvCxnSpPr>
            <a:cxnSpLocks/>
          </p:cNvCxnSpPr>
          <p:nvPr/>
        </p:nvCxnSpPr>
        <p:spPr>
          <a:xfrm flipH="1" flipV="1">
            <a:off x="7704244" y="738967"/>
            <a:ext cx="3089675" cy="710324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3CEDBBC-91F6-45D0-A84D-EAD6DF1DCF3E}"/>
              </a:ext>
            </a:extLst>
          </p:cNvPr>
          <p:cNvCxnSpPr>
            <a:cxnSpLocks/>
          </p:cNvCxnSpPr>
          <p:nvPr/>
        </p:nvCxnSpPr>
        <p:spPr>
          <a:xfrm>
            <a:off x="1028199" y="3782642"/>
            <a:ext cx="0" cy="2227182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888D119F-E9C9-4897-9093-87B218FFFB3A}"/>
              </a:ext>
            </a:extLst>
          </p:cNvPr>
          <p:cNvCxnSpPr>
            <a:cxnSpLocks/>
          </p:cNvCxnSpPr>
          <p:nvPr/>
        </p:nvCxnSpPr>
        <p:spPr>
          <a:xfrm>
            <a:off x="1039133" y="5995357"/>
            <a:ext cx="1695744" cy="394191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DCC42959-FB43-41B1-9B06-44178123403C}"/>
              </a:ext>
            </a:extLst>
          </p:cNvPr>
          <p:cNvSpPr txBox="1"/>
          <p:nvPr/>
        </p:nvSpPr>
        <p:spPr>
          <a:xfrm rot="780000">
            <a:off x="236781" y="5928437"/>
            <a:ext cx="35171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Felles oppstart gjennomført</a:t>
            </a:r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3FB66F6D-3923-417A-98FE-3BEC478A4403}"/>
              </a:ext>
            </a:extLst>
          </p:cNvPr>
          <p:cNvCxnSpPr>
            <a:cxnSpLocks/>
            <a:stCxn id="101" idx="2"/>
          </p:cNvCxnSpPr>
          <p:nvPr/>
        </p:nvCxnSpPr>
        <p:spPr>
          <a:xfrm flipH="1">
            <a:off x="3062958" y="3884860"/>
            <a:ext cx="3989" cy="2021243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59FA8AA8-3B39-4DEF-9B10-679644975EAC}"/>
              </a:ext>
            </a:extLst>
          </p:cNvPr>
          <p:cNvCxnSpPr>
            <a:cxnSpLocks/>
          </p:cNvCxnSpPr>
          <p:nvPr/>
        </p:nvCxnSpPr>
        <p:spPr>
          <a:xfrm>
            <a:off x="3071711" y="5916935"/>
            <a:ext cx="2734283" cy="635608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8" name="TextBox 97">
            <a:extLst>
              <a:ext uri="{FF2B5EF4-FFF2-40B4-BE49-F238E27FC236}">
                <a16:creationId xmlns:a16="http://schemas.microsoft.com/office/drawing/2014/main" id="{E479CB8E-4789-4519-809D-A7B4B42959F3}"/>
              </a:ext>
            </a:extLst>
          </p:cNvPr>
          <p:cNvSpPr txBox="1"/>
          <p:nvPr/>
        </p:nvSpPr>
        <p:spPr>
          <a:xfrm rot="780000">
            <a:off x="2889997" y="5975245"/>
            <a:ext cx="31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Endringstakt for implementering avklart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2AD441EE-ED2A-40C3-9D2A-961EEE2E52F2}"/>
              </a:ext>
            </a:extLst>
          </p:cNvPr>
          <p:cNvCxnSpPr>
            <a:cxnSpLocks/>
          </p:cNvCxnSpPr>
          <p:nvPr/>
        </p:nvCxnSpPr>
        <p:spPr>
          <a:xfrm>
            <a:off x="10278451" y="5597340"/>
            <a:ext cx="1558507" cy="369115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4" name="TextBox 99">
            <a:extLst>
              <a:ext uri="{FF2B5EF4-FFF2-40B4-BE49-F238E27FC236}">
                <a16:creationId xmlns:a16="http://schemas.microsoft.com/office/drawing/2014/main" id="{7654CDBD-2FC9-4AC8-B96B-7EC1AB418A8A}"/>
              </a:ext>
            </a:extLst>
          </p:cNvPr>
          <p:cNvSpPr txBox="1"/>
          <p:nvPr/>
        </p:nvSpPr>
        <p:spPr>
          <a:xfrm rot="780000">
            <a:off x="8671565" y="1301212"/>
            <a:ext cx="235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sz="900"/>
            </a:lvl1pPr>
          </a:lstStyle>
          <a:p>
            <a:pPr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Systembytte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44E8417D-3071-4EAA-81D0-ADE26BEF07E4}"/>
              </a:ext>
            </a:extLst>
          </p:cNvPr>
          <p:cNvCxnSpPr>
            <a:cxnSpLocks/>
          </p:cNvCxnSpPr>
          <p:nvPr/>
        </p:nvCxnSpPr>
        <p:spPr>
          <a:xfrm flipV="1">
            <a:off x="10290357" y="1703206"/>
            <a:ext cx="0" cy="1481367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14F67E81-2CE5-4A15-B32E-D6BE3F0728F9}"/>
              </a:ext>
            </a:extLst>
          </p:cNvPr>
          <p:cNvCxnSpPr>
            <a:cxnSpLocks/>
          </p:cNvCxnSpPr>
          <p:nvPr/>
        </p:nvCxnSpPr>
        <p:spPr>
          <a:xfrm flipH="1" flipV="1">
            <a:off x="9326203" y="1472423"/>
            <a:ext cx="971141" cy="231580"/>
          </a:xfrm>
          <a:prstGeom prst="line">
            <a:avLst/>
          </a:prstGeom>
          <a:ln w="25400">
            <a:solidFill>
              <a:srgbClr val="ED801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7" name="Diamond 96">
            <a:extLst>
              <a:ext uri="{FF2B5EF4-FFF2-40B4-BE49-F238E27FC236}">
                <a16:creationId xmlns:a16="http://schemas.microsoft.com/office/drawing/2014/main" id="{2860507D-1260-465F-BCDA-90F5D62EC502}"/>
              </a:ext>
            </a:extLst>
          </p:cNvPr>
          <p:cNvSpPr/>
          <p:nvPr/>
        </p:nvSpPr>
        <p:spPr>
          <a:xfrm>
            <a:off x="3847276" y="3592467"/>
            <a:ext cx="238277" cy="240000"/>
          </a:xfrm>
          <a:prstGeom prst="diamond">
            <a:avLst/>
          </a:prstGeom>
          <a:solidFill>
            <a:srgbClr val="0166CB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6CD9F03C-57C2-41EE-BB23-C54EF0AF1D14}"/>
              </a:ext>
            </a:extLst>
          </p:cNvPr>
          <p:cNvCxnSpPr>
            <a:cxnSpLocks/>
            <a:stCxn id="97" idx="2"/>
          </p:cNvCxnSpPr>
          <p:nvPr/>
        </p:nvCxnSpPr>
        <p:spPr>
          <a:xfrm flipH="1">
            <a:off x="3962426" y="3832467"/>
            <a:ext cx="3989" cy="1908355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36BFFC15-D45E-4B4E-AD50-78AE2B5C546F}"/>
              </a:ext>
            </a:extLst>
          </p:cNvPr>
          <p:cNvCxnSpPr>
            <a:cxnSpLocks/>
          </p:cNvCxnSpPr>
          <p:nvPr/>
        </p:nvCxnSpPr>
        <p:spPr>
          <a:xfrm>
            <a:off x="3971179" y="5751653"/>
            <a:ext cx="2734283" cy="635608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6" name="TextBox 105">
            <a:extLst>
              <a:ext uri="{FF2B5EF4-FFF2-40B4-BE49-F238E27FC236}">
                <a16:creationId xmlns:a16="http://schemas.microsoft.com/office/drawing/2014/main" id="{358E22A0-C1CF-4FFA-97E0-EC8C1CDB7638}"/>
              </a:ext>
            </a:extLst>
          </p:cNvPr>
          <p:cNvSpPr txBox="1"/>
          <p:nvPr/>
        </p:nvSpPr>
        <p:spPr>
          <a:xfrm rot="780000">
            <a:off x="3789465" y="5809963"/>
            <a:ext cx="31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Valgte organisatoriske endringer avgjort</a:t>
            </a:r>
          </a:p>
        </p:txBody>
      </p:sp>
      <p:sp>
        <p:nvSpPr>
          <p:cNvPr id="133" name="Arrow: Pentagon 132">
            <a:extLst>
              <a:ext uri="{FF2B5EF4-FFF2-40B4-BE49-F238E27FC236}">
                <a16:creationId xmlns:a16="http://schemas.microsoft.com/office/drawing/2014/main" id="{8241F6E1-FF91-44EC-B71E-A3E464FE38AE}"/>
              </a:ext>
            </a:extLst>
          </p:cNvPr>
          <p:cNvSpPr/>
          <p:nvPr/>
        </p:nvSpPr>
        <p:spPr bwMode="gray">
          <a:xfrm>
            <a:off x="59932" y="4044841"/>
            <a:ext cx="960936" cy="230015"/>
          </a:xfrm>
          <a:prstGeom prst="homePlate">
            <a:avLst/>
          </a:prstGeom>
          <a:solidFill>
            <a:srgbClr val="0166CB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</a:pPr>
            <a:r>
              <a:rPr lang="nb-NO" sz="933" b="1">
                <a:solidFill>
                  <a:srgbClr val="FFFFFF"/>
                </a:solidFill>
                <a:latin typeface="Calibri Light"/>
              </a:rPr>
              <a:t>Forankring</a:t>
            </a:r>
          </a:p>
        </p:txBody>
      </p:sp>
      <p:sp>
        <p:nvSpPr>
          <p:cNvPr id="134" name="Arrow: Chevron 133">
            <a:extLst>
              <a:ext uri="{FF2B5EF4-FFF2-40B4-BE49-F238E27FC236}">
                <a16:creationId xmlns:a16="http://schemas.microsoft.com/office/drawing/2014/main" id="{EF73A297-60EA-485E-A0AE-47E59DAF78E5}"/>
              </a:ext>
            </a:extLst>
          </p:cNvPr>
          <p:cNvSpPr/>
          <p:nvPr/>
        </p:nvSpPr>
        <p:spPr bwMode="gray">
          <a:xfrm>
            <a:off x="3739971" y="4044841"/>
            <a:ext cx="4144626" cy="497537"/>
          </a:xfrm>
          <a:prstGeom prst="chevron">
            <a:avLst/>
          </a:prstGeom>
          <a:solidFill>
            <a:srgbClr val="0166CB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</a:pPr>
            <a:r>
              <a:rPr lang="nb-NO" sz="933" b="1">
                <a:solidFill>
                  <a:srgbClr val="FFFFFF"/>
                </a:solidFill>
                <a:latin typeface="Calibri Light"/>
              </a:rPr>
              <a:t>Prosess for tilpasning av arbeidsorganisering og -deling for valgte områder</a:t>
            </a:r>
          </a:p>
        </p:txBody>
      </p:sp>
      <p:sp>
        <p:nvSpPr>
          <p:cNvPr id="135" name="Arrow: Chevron 134">
            <a:extLst>
              <a:ext uri="{FF2B5EF4-FFF2-40B4-BE49-F238E27FC236}">
                <a16:creationId xmlns:a16="http://schemas.microsoft.com/office/drawing/2014/main" id="{A34BE05D-1856-44DD-8659-FC32C4E761D1}"/>
              </a:ext>
            </a:extLst>
          </p:cNvPr>
          <p:cNvSpPr/>
          <p:nvPr/>
        </p:nvSpPr>
        <p:spPr bwMode="gray">
          <a:xfrm>
            <a:off x="7648868" y="4044841"/>
            <a:ext cx="2640336" cy="487967"/>
          </a:xfrm>
          <a:prstGeom prst="chevron">
            <a:avLst/>
          </a:prstGeom>
          <a:solidFill>
            <a:srgbClr val="0166CB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lnSpc>
                <a:spcPct val="106000"/>
              </a:lnSpc>
            </a:pPr>
            <a:r>
              <a:rPr lang="nb-NO" sz="933" b="1">
                <a:solidFill>
                  <a:srgbClr val="FFFFFF"/>
                </a:solidFill>
                <a:latin typeface="Calibri Light"/>
              </a:rPr>
              <a:t>Opplæring</a:t>
            </a:r>
          </a:p>
        </p:txBody>
      </p:sp>
      <p:sp>
        <p:nvSpPr>
          <p:cNvPr id="136" name="Arrow: Pentagon 135">
            <a:extLst>
              <a:ext uri="{FF2B5EF4-FFF2-40B4-BE49-F238E27FC236}">
                <a16:creationId xmlns:a16="http://schemas.microsoft.com/office/drawing/2014/main" id="{E89F2D7E-46F0-458B-A7FC-DFCEF5A4B0FC}"/>
              </a:ext>
            </a:extLst>
          </p:cNvPr>
          <p:cNvSpPr/>
          <p:nvPr/>
        </p:nvSpPr>
        <p:spPr bwMode="gray">
          <a:xfrm>
            <a:off x="59930" y="4303300"/>
            <a:ext cx="964441" cy="239747"/>
          </a:xfrm>
          <a:prstGeom prst="homePlate">
            <a:avLst/>
          </a:prstGeom>
          <a:solidFill>
            <a:srgbClr val="0166CB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</a:pPr>
            <a:r>
              <a:rPr lang="nb-NO" sz="933" b="1">
                <a:solidFill>
                  <a:srgbClr val="FFFFFF"/>
                </a:solidFill>
                <a:latin typeface="Calibri Light"/>
              </a:rPr>
              <a:t>Innsikt</a:t>
            </a:r>
          </a:p>
        </p:txBody>
      </p:sp>
      <p:sp>
        <p:nvSpPr>
          <p:cNvPr id="137" name="Arrow: Chevron 136">
            <a:extLst>
              <a:ext uri="{FF2B5EF4-FFF2-40B4-BE49-F238E27FC236}">
                <a16:creationId xmlns:a16="http://schemas.microsoft.com/office/drawing/2014/main" id="{CDC25C6E-76E1-46CA-AEEF-A19785038F6E}"/>
              </a:ext>
            </a:extLst>
          </p:cNvPr>
          <p:cNvSpPr/>
          <p:nvPr/>
        </p:nvSpPr>
        <p:spPr bwMode="gray">
          <a:xfrm>
            <a:off x="971682" y="4044841"/>
            <a:ext cx="1819168" cy="500645"/>
          </a:xfrm>
          <a:prstGeom prst="chevron">
            <a:avLst/>
          </a:prstGeom>
          <a:solidFill>
            <a:srgbClr val="0166CB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</a:pPr>
            <a:r>
              <a:rPr lang="nb-NO" sz="933" b="1">
                <a:solidFill>
                  <a:srgbClr val="FFFFFF"/>
                </a:solidFill>
                <a:latin typeface="Calibri Light"/>
              </a:rPr>
              <a:t>Prosessanalyse og  arbeidsorganisering </a:t>
            </a:r>
          </a:p>
        </p:txBody>
      </p:sp>
      <p:sp>
        <p:nvSpPr>
          <p:cNvPr id="138" name="Arrow: Chevron 137">
            <a:extLst>
              <a:ext uri="{FF2B5EF4-FFF2-40B4-BE49-F238E27FC236}">
                <a16:creationId xmlns:a16="http://schemas.microsoft.com/office/drawing/2014/main" id="{481CE5E7-DE4C-4E3A-9AE5-F32605292A16}"/>
              </a:ext>
            </a:extLst>
          </p:cNvPr>
          <p:cNvSpPr/>
          <p:nvPr/>
        </p:nvSpPr>
        <p:spPr bwMode="gray">
          <a:xfrm>
            <a:off x="2594328" y="4042915"/>
            <a:ext cx="1358346" cy="507776"/>
          </a:xfrm>
          <a:prstGeom prst="chevron">
            <a:avLst/>
          </a:prstGeom>
          <a:solidFill>
            <a:srgbClr val="0166CB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</a:pPr>
            <a:r>
              <a:rPr lang="nb-NO" sz="933" b="1">
                <a:solidFill>
                  <a:srgbClr val="FFFFFF"/>
                </a:solidFill>
                <a:latin typeface="Calibri Light"/>
              </a:rPr>
              <a:t>Vurdering og beslutning</a:t>
            </a:r>
          </a:p>
        </p:txBody>
      </p:sp>
      <p:sp>
        <p:nvSpPr>
          <p:cNvPr id="145" name="Diamond 100">
            <a:extLst>
              <a:ext uri="{FF2B5EF4-FFF2-40B4-BE49-F238E27FC236}">
                <a16:creationId xmlns:a16="http://schemas.microsoft.com/office/drawing/2014/main" id="{3C6D3EF4-48F5-48B7-930C-0A26300D73CD}"/>
              </a:ext>
            </a:extLst>
          </p:cNvPr>
          <p:cNvSpPr/>
          <p:nvPr/>
        </p:nvSpPr>
        <p:spPr>
          <a:xfrm>
            <a:off x="211216" y="554296"/>
            <a:ext cx="238277" cy="240000"/>
          </a:xfrm>
          <a:prstGeom prst="rect">
            <a:avLst/>
          </a:prstGeom>
          <a:solidFill>
            <a:srgbClr val="ED80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5FDF5AE3-25E6-4968-8174-A8FE073652DE}"/>
              </a:ext>
            </a:extLst>
          </p:cNvPr>
          <p:cNvSpPr/>
          <p:nvPr/>
        </p:nvSpPr>
        <p:spPr>
          <a:xfrm>
            <a:off x="2148092" y="562783"/>
            <a:ext cx="238277" cy="240000"/>
          </a:xfrm>
          <a:prstGeom prst="rect">
            <a:avLst/>
          </a:prstGeom>
          <a:solidFill>
            <a:srgbClr val="0166CB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E5B63F5D-F3F8-42DA-B63E-9A138E50D54D}"/>
              </a:ext>
            </a:extLst>
          </p:cNvPr>
          <p:cNvSpPr txBox="1"/>
          <p:nvPr/>
        </p:nvSpPr>
        <p:spPr>
          <a:xfrm>
            <a:off x="436921" y="510150"/>
            <a:ext cx="157264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nb-NO" sz="1333">
                <a:solidFill>
                  <a:srgbClr val="000000"/>
                </a:solidFill>
                <a:latin typeface="Arial" panose="020B0604020202020204"/>
              </a:rPr>
              <a:t>Teknisk innføring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F36F4735-1599-4C87-9244-365A6B129150}"/>
              </a:ext>
            </a:extLst>
          </p:cNvPr>
          <p:cNvSpPr txBox="1"/>
          <p:nvPr/>
        </p:nvSpPr>
        <p:spPr>
          <a:xfrm>
            <a:off x="2309472" y="510150"/>
            <a:ext cx="204798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nb-NO" sz="1333">
                <a:solidFill>
                  <a:srgbClr val="000000"/>
                </a:solidFill>
                <a:latin typeface="Arial" panose="020B0604020202020204"/>
              </a:rPr>
              <a:t>Organisatorisk innføring</a:t>
            </a:r>
          </a:p>
        </p:txBody>
      </p:sp>
      <p:sp>
        <p:nvSpPr>
          <p:cNvPr id="149" name="Pil: femkant 56">
            <a:extLst>
              <a:ext uri="{FF2B5EF4-FFF2-40B4-BE49-F238E27FC236}">
                <a16:creationId xmlns:a16="http://schemas.microsoft.com/office/drawing/2014/main" id="{120B0078-69AC-42D8-ACD9-AAACC5B2B1CF}"/>
              </a:ext>
            </a:extLst>
          </p:cNvPr>
          <p:cNvSpPr/>
          <p:nvPr/>
        </p:nvSpPr>
        <p:spPr>
          <a:xfrm>
            <a:off x="26284" y="2435007"/>
            <a:ext cx="4589213" cy="384000"/>
          </a:xfrm>
          <a:prstGeom prst="homePlate">
            <a:avLst/>
          </a:prstGeom>
          <a:solidFill>
            <a:srgbClr val="ED801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defTabSz="914377">
              <a:defRPr/>
            </a:pP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Rydding i data</a:t>
            </a:r>
          </a:p>
        </p:txBody>
      </p:sp>
      <p:sp>
        <p:nvSpPr>
          <p:cNvPr id="150" name="Pil: vinkeltegn 58">
            <a:extLst>
              <a:ext uri="{FF2B5EF4-FFF2-40B4-BE49-F238E27FC236}">
                <a16:creationId xmlns:a16="http://schemas.microsoft.com/office/drawing/2014/main" id="{703EB679-7B9F-468B-B5D1-CD705CA2A66B}"/>
              </a:ext>
            </a:extLst>
          </p:cNvPr>
          <p:cNvSpPr/>
          <p:nvPr/>
        </p:nvSpPr>
        <p:spPr>
          <a:xfrm>
            <a:off x="9433137" y="2435007"/>
            <a:ext cx="1548844" cy="382348"/>
          </a:xfrm>
          <a:prstGeom prst="chevron">
            <a:avLst/>
          </a:prstGeom>
          <a:solidFill>
            <a:srgbClr val="ED801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algn="ctr" defTabSz="914377">
              <a:defRPr/>
            </a:pP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NTNU-firma</a:t>
            </a:r>
          </a:p>
        </p:txBody>
      </p:sp>
      <p:sp>
        <p:nvSpPr>
          <p:cNvPr id="151" name="Pil: vinkeltegn 61">
            <a:extLst>
              <a:ext uri="{FF2B5EF4-FFF2-40B4-BE49-F238E27FC236}">
                <a16:creationId xmlns:a16="http://schemas.microsoft.com/office/drawing/2014/main" id="{8D973AE8-E32A-4E9A-9C48-EB925374CEC8}"/>
              </a:ext>
            </a:extLst>
          </p:cNvPr>
          <p:cNvSpPr/>
          <p:nvPr/>
        </p:nvSpPr>
        <p:spPr>
          <a:xfrm>
            <a:off x="4461935" y="2435007"/>
            <a:ext cx="5113747" cy="384000"/>
          </a:xfrm>
          <a:prstGeom prst="chevron">
            <a:avLst/>
          </a:prstGeom>
          <a:solidFill>
            <a:srgbClr val="ED801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algn="ctr" defTabSz="914377">
              <a:defRPr/>
            </a:pP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Konvertering av data</a:t>
            </a:r>
          </a:p>
        </p:txBody>
      </p:sp>
      <p:sp>
        <p:nvSpPr>
          <p:cNvPr id="152" name="Pil: vinkeltegn 63">
            <a:extLst>
              <a:ext uri="{FF2B5EF4-FFF2-40B4-BE49-F238E27FC236}">
                <a16:creationId xmlns:a16="http://schemas.microsoft.com/office/drawing/2014/main" id="{7EAC0F7E-D9FC-4435-95AE-B54E3BD1FBF0}"/>
              </a:ext>
            </a:extLst>
          </p:cNvPr>
          <p:cNvSpPr/>
          <p:nvPr/>
        </p:nvSpPr>
        <p:spPr>
          <a:xfrm>
            <a:off x="7315202" y="2714339"/>
            <a:ext cx="4816868" cy="384000"/>
          </a:xfrm>
          <a:prstGeom prst="chevron">
            <a:avLst/>
          </a:prstGeom>
          <a:solidFill>
            <a:srgbClr val="ED8013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Sikker drift</a:t>
            </a:r>
          </a:p>
        </p:txBody>
      </p:sp>
      <p:sp>
        <p:nvSpPr>
          <p:cNvPr id="153" name="Pil: femkant 106">
            <a:extLst>
              <a:ext uri="{FF2B5EF4-FFF2-40B4-BE49-F238E27FC236}">
                <a16:creationId xmlns:a16="http://schemas.microsoft.com/office/drawing/2014/main" id="{D219EE98-F9AE-44C3-9027-40779AA296F6}"/>
              </a:ext>
            </a:extLst>
          </p:cNvPr>
          <p:cNvSpPr/>
          <p:nvPr/>
        </p:nvSpPr>
        <p:spPr>
          <a:xfrm>
            <a:off x="1900772" y="2714339"/>
            <a:ext cx="1304976" cy="384000"/>
          </a:xfrm>
          <a:prstGeom prst="homePlate">
            <a:avLst/>
          </a:prstGeom>
          <a:solidFill>
            <a:srgbClr val="ED8013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algn="ctr" defTabSz="914377">
              <a:defRPr/>
            </a:pP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Datainnsamling SAP</a:t>
            </a:r>
          </a:p>
        </p:txBody>
      </p:sp>
      <p:sp>
        <p:nvSpPr>
          <p:cNvPr id="154" name="Pil: vinkeltegn 107">
            <a:extLst>
              <a:ext uri="{FF2B5EF4-FFF2-40B4-BE49-F238E27FC236}">
                <a16:creationId xmlns:a16="http://schemas.microsoft.com/office/drawing/2014/main" id="{2981EED0-FC4A-437E-BD1D-ECD894237EDB}"/>
              </a:ext>
            </a:extLst>
          </p:cNvPr>
          <p:cNvSpPr/>
          <p:nvPr/>
        </p:nvSpPr>
        <p:spPr>
          <a:xfrm>
            <a:off x="3075057" y="2714339"/>
            <a:ext cx="1264376" cy="384000"/>
          </a:xfrm>
          <a:prstGeom prst="chevron">
            <a:avLst/>
          </a:prstGeom>
          <a:solidFill>
            <a:srgbClr val="ED8013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lIns="48000" rIns="48000" rtlCol="0" anchor="t"/>
          <a:lstStyle/>
          <a:p>
            <a:pPr algn="ctr" defTabSz="914377">
              <a:defRPr/>
            </a:pP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Datainnsamling </a:t>
            </a:r>
            <a:br>
              <a:rPr lang="nb-NO" sz="933" b="1" kern="0">
                <a:solidFill>
                  <a:srgbClr val="FFFFFF"/>
                </a:solidFill>
                <a:latin typeface="Calibri" panose="020F0502020204030204"/>
              </a:rPr>
            </a:b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UBW</a:t>
            </a:r>
          </a:p>
        </p:txBody>
      </p:sp>
      <p:sp>
        <p:nvSpPr>
          <p:cNvPr id="155" name="Tittel 1">
            <a:extLst>
              <a:ext uri="{FF2B5EF4-FFF2-40B4-BE49-F238E27FC236}">
                <a16:creationId xmlns:a16="http://schemas.microsoft.com/office/drawing/2014/main" id="{587591E9-D1C9-44D6-9106-F50F26AA3AAE}"/>
              </a:ext>
            </a:extLst>
          </p:cNvPr>
          <p:cNvSpPr txBox="1">
            <a:spLocks/>
          </p:cNvSpPr>
          <p:nvPr/>
        </p:nvSpPr>
        <p:spPr>
          <a:xfrm>
            <a:off x="140238" y="81358"/>
            <a:ext cx="11224996" cy="504947"/>
          </a:xfrm>
          <a:prstGeom prst="rect">
            <a:avLst/>
          </a:prstGeom>
        </p:spPr>
        <p:txBody>
          <a:bodyPr vert="horz" wrap="square" lIns="90000" tIns="46800" rIns="90000" bIns="468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defTabSz="812760"/>
            <a:r>
              <a:rPr lang="nb-NO" sz="2667">
                <a:solidFill>
                  <a:srgbClr val="000000"/>
                </a:solidFill>
              </a:rPr>
              <a:t>2021 – Aktivitetsoversikt – Innføring BOTT Økonomi og Lønn</a:t>
            </a:r>
          </a:p>
        </p:txBody>
      </p:sp>
      <p:sp>
        <p:nvSpPr>
          <p:cNvPr id="81" name="Diamond 80">
            <a:extLst>
              <a:ext uri="{FF2B5EF4-FFF2-40B4-BE49-F238E27FC236}">
                <a16:creationId xmlns:a16="http://schemas.microsoft.com/office/drawing/2014/main" id="{12402644-4305-4925-BFC4-199DB8D7560F}"/>
              </a:ext>
            </a:extLst>
          </p:cNvPr>
          <p:cNvSpPr/>
          <p:nvPr/>
        </p:nvSpPr>
        <p:spPr>
          <a:xfrm>
            <a:off x="2252732" y="3631652"/>
            <a:ext cx="238277" cy="240000"/>
          </a:xfrm>
          <a:prstGeom prst="diamond">
            <a:avLst/>
          </a:prstGeom>
          <a:solidFill>
            <a:srgbClr val="0166CB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C81B189D-9228-4ABC-AE73-45C2193DCAA7}"/>
              </a:ext>
            </a:extLst>
          </p:cNvPr>
          <p:cNvCxnSpPr>
            <a:cxnSpLocks/>
          </p:cNvCxnSpPr>
          <p:nvPr/>
        </p:nvCxnSpPr>
        <p:spPr>
          <a:xfrm>
            <a:off x="2357322" y="6033104"/>
            <a:ext cx="2734283" cy="635608"/>
          </a:xfrm>
          <a:prstGeom prst="line">
            <a:avLst/>
          </a:prstGeom>
          <a:ln>
            <a:solidFill>
              <a:srgbClr val="0166C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E1D47903-726F-4876-968E-2F1CF7FFE342}"/>
              </a:ext>
            </a:extLst>
          </p:cNvPr>
          <p:cNvSpPr txBox="1"/>
          <p:nvPr/>
        </p:nvSpPr>
        <p:spPr>
          <a:xfrm>
            <a:off x="4562273" y="507042"/>
            <a:ext cx="1710725" cy="369332"/>
          </a:xfrm>
          <a:prstGeom prst="rect">
            <a:avLst/>
          </a:prstGeom>
          <a:solidFill>
            <a:srgbClr val="92D050"/>
          </a:solidFill>
        </p:spPr>
        <p:txBody>
          <a:bodyPr wrap="none" rtlCol="0">
            <a:spAutoFit/>
          </a:bodyPr>
          <a:lstStyle/>
          <a:p>
            <a:r>
              <a:rPr lang="nb-NO"/>
              <a:t>…og BEVISST</a:t>
            </a:r>
          </a:p>
        </p:txBody>
      </p:sp>
      <p:sp>
        <p:nvSpPr>
          <p:cNvPr id="71" name="Diamond 70">
            <a:extLst>
              <a:ext uri="{FF2B5EF4-FFF2-40B4-BE49-F238E27FC236}">
                <a16:creationId xmlns:a16="http://schemas.microsoft.com/office/drawing/2014/main" id="{73D94472-FDF8-4666-807B-C71C09C15C0E}"/>
              </a:ext>
            </a:extLst>
          </p:cNvPr>
          <p:cNvSpPr/>
          <p:nvPr/>
        </p:nvSpPr>
        <p:spPr>
          <a:xfrm>
            <a:off x="1757056" y="3172258"/>
            <a:ext cx="238277" cy="240000"/>
          </a:xfrm>
          <a:prstGeom prst="diamond">
            <a:avLst/>
          </a:prstGeom>
          <a:solidFill>
            <a:srgbClr val="92D050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B0BEDC08-5FD6-4E02-A6DB-49C223EA79DB}"/>
              </a:ext>
            </a:extLst>
          </p:cNvPr>
          <p:cNvCxnSpPr>
            <a:cxnSpLocks/>
          </p:cNvCxnSpPr>
          <p:nvPr/>
        </p:nvCxnSpPr>
        <p:spPr>
          <a:xfrm flipV="1">
            <a:off x="1872367" y="2359196"/>
            <a:ext cx="0" cy="816383"/>
          </a:xfrm>
          <a:prstGeom prst="line">
            <a:avLst/>
          </a:prstGeom>
          <a:ln w="25400">
            <a:solidFill>
              <a:srgbClr val="92D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831C436E-4725-4A9A-A6F8-39F1A1453398}"/>
              </a:ext>
            </a:extLst>
          </p:cNvPr>
          <p:cNvCxnSpPr>
            <a:cxnSpLocks/>
          </p:cNvCxnSpPr>
          <p:nvPr/>
        </p:nvCxnSpPr>
        <p:spPr>
          <a:xfrm flipH="1" flipV="1">
            <a:off x="193733" y="1958735"/>
            <a:ext cx="1700924" cy="416018"/>
          </a:xfrm>
          <a:prstGeom prst="line">
            <a:avLst/>
          </a:prstGeom>
          <a:ln w="25400">
            <a:solidFill>
              <a:srgbClr val="92D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C69ED6C-2946-4E40-A8F0-21AF06AE5EC4}"/>
              </a:ext>
            </a:extLst>
          </p:cNvPr>
          <p:cNvSpPr txBox="1"/>
          <p:nvPr/>
        </p:nvSpPr>
        <p:spPr>
          <a:xfrm rot="824985">
            <a:off x="163418" y="1791413"/>
            <a:ext cx="211147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/>
              <a:t>Integrasjoner og K-sted tilpassing </a:t>
            </a:r>
          </a:p>
          <a:p>
            <a:r>
              <a:rPr lang="nb-NO" sz="1000"/>
              <a:t>i org.reg er gjennomført</a:t>
            </a:r>
          </a:p>
        </p:txBody>
      </p:sp>
      <p:sp>
        <p:nvSpPr>
          <p:cNvPr id="109" name="Diamond 108">
            <a:extLst>
              <a:ext uri="{FF2B5EF4-FFF2-40B4-BE49-F238E27FC236}">
                <a16:creationId xmlns:a16="http://schemas.microsoft.com/office/drawing/2014/main" id="{861B9BFA-AE5B-49A7-9971-14EBABC55DA6}"/>
              </a:ext>
            </a:extLst>
          </p:cNvPr>
          <p:cNvSpPr/>
          <p:nvPr/>
        </p:nvSpPr>
        <p:spPr>
          <a:xfrm>
            <a:off x="4330540" y="3208134"/>
            <a:ext cx="238277" cy="240000"/>
          </a:xfrm>
          <a:prstGeom prst="diamond">
            <a:avLst/>
          </a:prstGeom>
          <a:solidFill>
            <a:srgbClr val="92D050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E962EEE7-072E-4A60-8A47-96B9EBD47FBB}"/>
              </a:ext>
            </a:extLst>
          </p:cNvPr>
          <p:cNvCxnSpPr>
            <a:cxnSpLocks/>
          </p:cNvCxnSpPr>
          <p:nvPr/>
        </p:nvCxnSpPr>
        <p:spPr>
          <a:xfrm flipV="1">
            <a:off x="4449679" y="2361117"/>
            <a:ext cx="0" cy="816383"/>
          </a:xfrm>
          <a:prstGeom prst="line">
            <a:avLst/>
          </a:prstGeom>
          <a:ln w="25400">
            <a:solidFill>
              <a:srgbClr val="92D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DC535179-1E7F-48EE-8E87-0295F7BDE95B}"/>
              </a:ext>
            </a:extLst>
          </p:cNvPr>
          <p:cNvCxnSpPr>
            <a:cxnSpLocks/>
          </p:cNvCxnSpPr>
          <p:nvPr/>
        </p:nvCxnSpPr>
        <p:spPr>
          <a:xfrm flipV="1">
            <a:off x="4452043" y="1959161"/>
            <a:ext cx="1250065" cy="417666"/>
          </a:xfrm>
          <a:prstGeom prst="line">
            <a:avLst/>
          </a:prstGeom>
          <a:ln w="25400">
            <a:solidFill>
              <a:srgbClr val="92D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2" name="TextBox 111">
            <a:extLst>
              <a:ext uri="{FF2B5EF4-FFF2-40B4-BE49-F238E27FC236}">
                <a16:creationId xmlns:a16="http://schemas.microsoft.com/office/drawing/2014/main" id="{CC9F76E5-F7B2-4EB1-975B-7EC492F86466}"/>
              </a:ext>
            </a:extLst>
          </p:cNvPr>
          <p:cNvSpPr txBox="1"/>
          <p:nvPr/>
        </p:nvSpPr>
        <p:spPr>
          <a:xfrm rot="20536838">
            <a:off x="4354381" y="1715141"/>
            <a:ext cx="19367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/>
              <a:t>Beslutning om prosjektstruktur </a:t>
            </a:r>
            <a:br>
              <a:rPr lang="nb-NO" sz="1000"/>
            </a:br>
            <a:r>
              <a:rPr lang="nb-NO" sz="1000"/>
              <a:t>ny økonomimodell er tatt</a:t>
            </a:r>
          </a:p>
        </p:txBody>
      </p:sp>
      <p:graphicFrame>
        <p:nvGraphicFramePr>
          <p:cNvPr id="116" name="Diagram 115">
            <a:extLst>
              <a:ext uri="{FF2B5EF4-FFF2-40B4-BE49-F238E27FC236}">
                <a16:creationId xmlns:a16="http://schemas.microsoft.com/office/drawing/2014/main" id="{7901472C-2C79-453A-82F0-122A52E0EB96}"/>
              </a:ext>
            </a:extLst>
          </p:cNvPr>
          <p:cNvGraphicFramePr/>
          <p:nvPr/>
        </p:nvGraphicFramePr>
        <p:xfrm>
          <a:off x="26284" y="2538953"/>
          <a:ext cx="12175679" cy="11688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117" name="Diamond 116">
            <a:extLst>
              <a:ext uri="{FF2B5EF4-FFF2-40B4-BE49-F238E27FC236}">
                <a16:creationId xmlns:a16="http://schemas.microsoft.com/office/drawing/2014/main" id="{9CA40A6E-6E20-4152-A0F5-622A70710810}"/>
              </a:ext>
            </a:extLst>
          </p:cNvPr>
          <p:cNvSpPr/>
          <p:nvPr/>
        </p:nvSpPr>
        <p:spPr>
          <a:xfrm>
            <a:off x="11836650" y="3218467"/>
            <a:ext cx="238277" cy="240000"/>
          </a:xfrm>
          <a:prstGeom prst="diamond">
            <a:avLst/>
          </a:prstGeom>
          <a:solidFill>
            <a:srgbClr val="92D050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8FF3AB61-B7BB-41CE-B2F4-9EC4E57873A7}"/>
              </a:ext>
            </a:extLst>
          </p:cNvPr>
          <p:cNvCxnSpPr>
            <a:cxnSpLocks/>
          </p:cNvCxnSpPr>
          <p:nvPr/>
        </p:nvCxnSpPr>
        <p:spPr>
          <a:xfrm flipH="1" flipV="1">
            <a:off x="11928844" y="2158992"/>
            <a:ext cx="16414" cy="1061774"/>
          </a:xfrm>
          <a:prstGeom prst="line">
            <a:avLst/>
          </a:prstGeom>
          <a:ln w="25400">
            <a:solidFill>
              <a:srgbClr val="92D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EA9A9946-92CD-4670-8134-339D14C8B7FF}"/>
              </a:ext>
            </a:extLst>
          </p:cNvPr>
          <p:cNvCxnSpPr>
            <a:cxnSpLocks/>
          </p:cNvCxnSpPr>
          <p:nvPr/>
        </p:nvCxnSpPr>
        <p:spPr>
          <a:xfrm flipH="1" flipV="1">
            <a:off x="11125552" y="1932645"/>
            <a:ext cx="800780" cy="226348"/>
          </a:xfrm>
          <a:prstGeom prst="line">
            <a:avLst/>
          </a:prstGeom>
          <a:ln w="25400">
            <a:solidFill>
              <a:srgbClr val="92D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C2926008-D39F-444E-9952-371422840158}"/>
              </a:ext>
            </a:extLst>
          </p:cNvPr>
          <p:cNvSpPr txBox="1"/>
          <p:nvPr/>
        </p:nvSpPr>
        <p:spPr>
          <a:xfrm rot="1009930">
            <a:off x="11008154" y="1676806"/>
            <a:ext cx="1273204" cy="398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/>
              <a:t>2022:Budsjett med ny økonomimodell</a:t>
            </a:r>
          </a:p>
        </p:txBody>
      </p:sp>
      <p:graphicFrame>
        <p:nvGraphicFramePr>
          <p:cNvPr id="120" name="Diagram 119">
            <a:extLst>
              <a:ext uri="{FF2B5EF4-FFF2-40B4-BE49-F238E27FC236}">
                <a16:creationId xmlns:a16="http://schemas.microsoft.com/office/drawing/2014/main" id="{E91F405C-194E-47AC-A8A2-1192F5A0F172}"/>
              </a:ext>
            </a:extLst>
          </p:cNvPr>
          <p:cNvGraphicFramePr/>
          <p:nvPr/>
        </p:nvGraphicFramePr>
        <p:xfrm>
          <a:off x="0" y="4038129"/>
          <a:ext cx="6537317" cy="16701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" r:lo="rId17" r:qs="rId18" r:cs="rId19"/>
          </a:graphicData>
        </a:graphic>
      </p:graphicFrame>
      <p:graphicFrame>
        <p:nvGraphicFramePr>
          <p:cNvPr id="121" name="Diagram 120">
            <a:extLst>
              <a:ext uri="{FF2B5EF4-FFF2-40B4-BE49-F238E27FC236}">
                <a16:creationId xmlns:a16="http://schemas.microsoft.com/office/drawing/2014/main" id="{0BAA9795-B9FD-46D3-972F-3CA7E63E5831}"/>
              </a:ext>
            </a:extLst>
          </p:cNvPr>
          <p:cNvGraphicFramePr/>
          <p:nvPr/>
        </p:nvGraphicFramePr>
        <p:xfrm>
          <a:off x="6537316" y="4601124"/>
          <a:ext cx="5608123" cy="5069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1" r:lo="rId22" r:qs="rId23" r:cs="rId24"/>
          </a:graphicData>
        </a:graphic>
      </p:graphicFrame>
      <p:sp>
        <p:nvSpPr>
          <p:cNvPr id="123" name="Diamond 122">
            <a:extLst>
              <a:ext uri="{FF2B5EF4-FFF2-40B4-BE49-F238E27FC236}">
                <a16:creationId xmlns:a16="http://schemas.microsoft.com/office/drawing/2014/main" id="{867CB51C-13FE-4A5E-B94C-BD8B30DE637E}"/>
              </a:ext>
            </a:extLst>
          </p:cNvPr>
          <p:cNvSpPr/>
          <p:nvPr/>
        </p:nvSpPr>
        <p:spPr>
          <a:xfrm>
            <a:off x="9842156" y="3645238"/>
            <a:ext cx="238277" cy="240000"/>
          </a:xfrm>
          <a:prstGeom prst="diamond">
            <a:avLst/>
          </a:prstGeom>
          <a:solidFill>
            <a:srgbClr val="00B050"/>
          </a:solidFill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0DF8336A-FE18-4436-BA5B-67531BF47565}"/>
              </a:ext>
            </a:extLst>
          </p:cNvPr>
          <p:cNvSpPr txBox="1"/>
          <p:nvPr/>
        </p:nvSpPr>
        <p:spPr>
          <a:xfrm rot="859416">
            <a:off x="10054014" y="5800418"/>
            <a:ext cx="1820678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Medarbeidere klar for å bruke BEVISST plan med ny økonomimodell for budsjett 2022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F25B1E69-6FF4-4E1A-BC9C-959E1701C344}"/>
              </a:ext>
            </a:extLst>
          </p:cNvPr>
          <p:cNvCxnSpPr>
            <a:cxnSpLocks/>
          </p:cNvCxnSpPr>
          <p:nvPr/>
        </p:nvCxnSpPr>
        <p:spPr>
          <a:xfrm>
            <a:off x="9918203" y="6242332"/>
            <a:ext cx="1737383" cy="487003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8046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937DDF-BEA5-432A-A94B-2932BBA3E0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804152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5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937DDF-BEA5-432A-A94B-2932BBA3E0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0" name="Diagram 119">
            <a:extLst>
              <a:ext uri="{FF2B5EF4-FFF2-40B4-BE49-F238E27FC236}">
                <a16:creationId xmlns:a16="http://schemas.microsoft.com/office/drawing/2014/main" id="{E91F405C-194E-47AC-A8A2-1192F5A0F1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74580609"/>
              </p:ext>
            </p:extLst>
          </p:nvPr>
        </p:nvGraphicFramePr>
        <p:xfrm>
          <a:off x="0" y="4038129"/>
          <a:ext cx="6537317" cy="16701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79EC1A25-4CE9-4B3A-B47A-6D7CC302AB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73080540"/>
              </p:ext>
            </p:extLst>
          </p:nvPr>
        </p:nvGraphicFramePr>
        <p:xfrm>
          <a:off x="15128" y="2823495"/>
          <a:ext cx="12115763" cy="14122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8FF3AB61-B7BB-41CE-B2F4-9EC4E57873A7}"/>
              </a:ext>
            </a:extLst>
          </p:cNvPr>
          <p:cNvCxnSpPr>
            <a:cxnSpLocks/>
          </p:cNvCxnSpPr>
          <p:nvPr/>
        </p:nvCxnSpPr>
        <p:spPr>
          <a:xfrm flipH="1" flipV="1">
            <a:off x="11928844" y="2120892"/>
            <a:ext cx="16414" cy="1061774"/>
          </a:xfrm>
          <a:prstGeom prst="line">
            <a:avLst/>
          </a:prstGeom>
          <a:ln w="25400">
            <a:solidFill>
              <a:srgbClr val="92D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E962EEE7-072E-4A60-8A47-96B9EBD47FBB}"/>
              </a:ext>
            </a:extLst>
          </p:cNvPr>
          <p:cNvCxnSpPr>
            <a:cxnSpLocks/>
          </p:cNvCxnSpPr>
          <p:nvPr/>
        </p:nvCxnSpPr>
        <p:spPr>
          <a:xfrm flipV="1">
            <a:off x="4449679" y="1785084"/>
            <a:ext cx="0" cy="1354318"/>
          </a:xfrm>
          <a:prstGeom prst="line">
            <a:avLst/>
          </a:prstGeom>
          <a:ln w="25400">
            <a:solidFill>
              <a:srgbClr val="92D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B0BEDC08-5FD6-4E02-A6DB-49C223EA79DB}"/>
              </a:ext>
            </a:extLst>
          </p:cNvPr>
          <p:cNvCxnSpPr>
            <a:cxnSpLocks/>
          </p:cNvCxnSpPr>
          <p:nvPr/>
        </p:nvCxnSpPr>
        <p:spPr>
          <a:xfrm flipV="1">
            <a:off x="1872367" y="2105671"/>
            <a:ext cx="0" cy="1031810"/>
          </a:xfrm>
          <a:prstGeom prst="line">
            <a:avLst/>
          </a:prstGeom>
          <a:ln w="25400">
            <a:solidFill>
              <a:srgbClr val="92D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C5B9C632-2902-4CA7-B120-FF8B31C4C7B9}"/>
              </a:ext>
            </a:extLst>
          </p:cNvPr>
          <p:cNvCxnSpPr>
            <a:cxnSpLocks/>
          </p:cNvCxnSpPr>
          <p:nvPr/>
        </p:nvCxnSpPr>
        <p:spPr>
          <a:xfrm flipH="1">
            <a:off x="9934321" y="3835150"/>
            <a:ext cx="25816" cy="2407182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6DFD5E95-316E-4236-B138-16225B5BE784}"/>
              </a:ext>
            </a:extLst>
          </p:cNvPr>
          <p:cNvCxnSpPr>
            <a:cxnSpLocks/>
            <a:stCxn id="81" idx="2"/>
          </p:cNvCxnSpPr>
          <p:nvPr/>
        </p:nvCxnSpPr>
        <p:spPr>
          <a:xfrm>
            <a:off x="2371871" y="3871652"/>
            <a:ext cx="0" cy="2173706"/>
          </a:xfrm>
          <a:prstGeom prst="line">
            <a:avLst/>
          </a:prstGeom>
          <a:ln>
            <a:solidFill>
              <a:srgbClr val="0166CB">
                <a:alpha val="25098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6" name="TextBox 95">
            <a:extLst>
              <a:ext uri="{FF2B5EF4-FFF2-40B4-BE49-F238E27FC236}">
                <a16:creationId xmlns:a16="http://schemas.microsoft.com/office/drawing/2014/main" id="{F7E87958-DBC9-45D3-8699-65D3830F529E}"/>
              </a:ext>
            </a:extLst>
          </p:cNvPr>
          <p:cNvSpPr txBox="1"/>
          <p:nvPr/>
        </p:nvSpPr>
        <p:spPr>
          <a:xfrm rot="780000">
            <a:off x="1947363" y="6059734"/>
            <a:ext cx="31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200">
                <a:solidFill>
                  <a:schemeClr val="bg1">
                    <a:lumMod val="75000"/>
                  </a:schemeClr>
                </a:solidFill>
                <a:latin typeface="Arial" panose="020B0604020202020204"/>
              </a:rPr>
              <a:t>Ny arbeidsorganisering fastsatt</a:t>
            </a:r>
          </a:p>
        </p:txBody>
      </p:sp>
      <p:sp>
        <p:nvSpPr>
          <p:cNvPr id="34" name="Diamond 84">
            <a:extLst>
              <a:ext uri="{FF2B5EF4-FFF2-40B4-BE49-F238E27FC236}">
                <a16:creationId xmlns:a16="http://schemas.microsoft.com/office/drawing/2014/main" id="{F6B14935-3421-4AA9-B05C-F6799D6AF2D2}"/>
              </a:ext>
            </a:extLst>
          </p:cNvPr>
          <p:cNvSpPr/>
          <p:nvPr/>
        </p:nvSpPr>
        <p:spPr>
          <a:xfrm>
            <a:off x="10683255" y="3219373"/>
            <a:ext cx="239293" cy="243059"/>
          </a:xfrm>
          <a:prstGeom prst="diamond">
            <a:avLst/>
          </a:prstGeom>
          <a:solidFill>
            <a:srgbClr val="ED8013">
              <a:alpha val="25098"/>
            </a:srgb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5" name="Diamond 86">
            <a:extLst>
              <a:ext uri="{FF2B5EF4-FFF2-40B4-BE49-F238E27FC236}">
                <a16:creationId xmlns:a16="http://schemas.microsoft.com/office/drawing/2014/main" id="{3C190982-2666-4F0A-BDCD-8BA1EAD4F9A2}"/>
              </a:ext>
            </a:extLst>
          </p:cNvPr>
          <p:cNvSpPr/>
          <p:nvPr/>
        </p:nvSpPr>
        <p:spPr>
          <a:xfrm>
            <a:off x="9788764" y="3219373"/>
            <a:ext cx="239293" cy="243059"/>
          </a:xfrm>
          <a:prstGeom prst="diamond">
            <a:avLst/>
          </a:prstGeom>
          <a:solidFill>
            <a:srgbClr val="ED8013">
              <a:alpha val="25098"/>
            </a:srgb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2" name="Diamond 100">
            <a:extLst>
              <a:ext uri="{FF2B5EF4-FFF2-40B4-BE49-F238E27FC236}">
                <a16:creationId xmlns:a16="http://schemas.microsoft.com/office/drawing/2014/main" id="{C1D527F3-0B37-4311-A463-074DF553F344}"/>
              </a:ext>
            </a:extLst>
          </p:cNvPr>
          <p:cNvSpPr/>
          <p:nvPr/>
        </p:nvSpPr>
        <p:spPr>
          <a:xfrm>
            <a:off x="3087887" y="3222432"/>
            <a:ext cx="238277" cy="240000"/>
          </a:xfrm>
          <a:prstGeom prst="diamond">
            <a:avLst/>
          </a:prstGeom>
          <a:solidFill>
            <a:srgbClr val="ED8013">
              <a:alpha val="25098"/>
            </a:srgb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3" name="Diamond 102">
            <a:extLst>
              <a:ext uri="{FF2B5EF4-FFF2-40B4-BE49-F238E27FC236}">
                <a16:creationId xmlns:a16="http://schemas.microsoft.com/office/drawing/2014/main" id="{8E6C8B02-0BA6-47AB-9F0F-291E176487B7}"/>
              </a:ext>
            </a:extLst>
          </p:cNvPr>
          <p:cNvSpPr/>
          <p:nvPr/>
        </p:nvSpPr>
        <p:spPr>
          <a:xfrm>
            <a:off x="8469162" y="3219373"/>
            <a:ext cx="239293" cy="243059"/>
          </a:xfrm>
          <a:prstGeom prst="diamond">
            <a:avLst/>
          </a:prstGeom>
          <a:solidFill>
            <a:srgbClr val="ED8013">
              <a:alpha val="25098"/>
            </a:srgb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1" name="Diamond 100">
            <a:extLst>
              <a:ext uri="{FF2B5EF4-FFF2-40B4-BE49-F238E27FC236}">
                <a16:creationId xmlns:a16="http://schemas.microsoft.com/office/drawing/2014/main" id="{3B742A27-DCBD-4BF0-849F-5CFFE960737F}"/>
              </a:ext>
            </a:extLst>
          </p:cNvPr>
          <p:cNvSpPr/>
          <p:nvPr/>
        </p:nvSpPr>
        <p:spPr>
          <a:xfrm>
            <a:off x="4168196" y="3222432"/>
            <a:ext cx="238277" cy="240000"/>
          </a:xfrm>
          <a:prstGeom prst="diamond">
            <a:avLst/>
          </a:prstGeom>
          <a:solidFill>
            <a:srgbClr val="ED8013">
              <a:alpha val="25098"/>
            </a:srgb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83" name="Diamond 86">
            <a:extLst>
              <a:ext uri="{FF2B5EF4-FFF2-40B4-BE49-F238E27FC236}">
                <a16:creationId xmlns:a16="http://schemas.microsoft.com/office/drawing/2014/main" id="{BBF4CCFB-E4AF-4898-8E76-DDD643717BC0}"/>
              </a:ext>
            </a:extLst>
          </p:cNvPr>
          <p:cNvSpPr/>
          <p:nvPr/>
        </p:nvSpPr>
        <p:spPr>
          <a:xfrm>
            <a:off x="10196047" y="3219373"/>
            <a:ext cx="239293" cy="243059"/>
          </a:xfrm>
          <a:prstGeom prst="diamond">
            <a:avLst/>
          </a:prstGeom>
          <a:solidFill>
            <a:srgbClr val="ED8013">
              <a:alpha val="25098"/>
            </a:srgb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7A86FBE5-AC88-4136-85AD-E5662A228BC6}"/>
              </a:ext>
            </a:extLst>
          </p:cNvPr>
          <p:cNvCxnSpPr>
            <a:cxnSpLocks/>
          </p:cNvCxnSpPr>
          <p:nvPr/>
        </p:nvCxnSpPr>
        <p:spPr>
          <a:xfrm>
            <a:off x="10279451" y="3834772"/>
            <a:ext cx="0" cy="1751737"/>
          </a:xfrm>
          <a:prstGeom prst="line">
            <a:avLst/>
          </a:prstGeom>
          <a:ln>
            <a:solidFill>
              <a:srgbClr val="0166CB">
                <a:alpha val="25098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E04D334D-C636-4451-984E-843BE7818712}"/>
              </a:ext>
            </a:extLst>
          </p:cNvPr>
          <p:cNvCxnSpPr>
            <a:cxnSpLocks/>
          </p:cNvCxnSpPr>
          <p:nvPr/>
        </p:nvCxnSpPr>
        <p:spPr>
          <a:xfrm>
            <a:off x="7759724" y="3776144"/>
            <a:ext cx="0" cy="1654112"/>
          </a:xfrm>
          <a:prstGeom prst="line">
            <a:avLst/>
          </a:prstGeom>
          <a:ln>
            <a:solidFill>
              <a:srgbClr val="0166CB">
                <a:alpha val="25098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6DBD1565-3B7E-4E8D-89E1-9C955CF752F7}"/>
              </a:ext>
            </a:extLst>
          </p:cNvPr>
          <p:cNvCxnSpPr>
            <a:cxnSpLocks/>
          </p:cNvCxnSpPr>
          <p:nvPr/>
        </p:nvCxnSpPr>
        <p:spPr>
          <a:xfrm>
            <a:off x="7753091" y="5440484"/>
            <a:ext cx="1920267" cy="438525"/>
          </a:xfrm>
          <a:prstGeom prst="line">
            <a:avLst/>
          </a:prstGeom>
          <a:ln>
            <a:solidFill>
              <a:srgbClr val="0166CB">
                <a:alpha val="25098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Diamond 84">
            <a:extLst>
              <a:ext uri="{FF2B5EF4-FFF2-40B4-BE49-F238E27FC236}">
                <a16:creationId xmlns:a16="http://schemas.microsoft.com/office/drawing/2014/main" id="{B762AF84-EDD4-47A1-9EEE-496F5575496B}"/>
              </a:ext>
            </a:extLst>
          </p:cNvPr>
          <p:cNvSpPr/>
          <p:nvPr/>
        </p:nvSpPr>
        <p:spPr>
          <a:xfrm>
            <a:off x="909060" y="3644860"/>
            <a:ext cx="238277" cy="240000"/>
          </a:xfrm>
          <a:prstGeom prst="diamond">
            <a:avLst/>
          </a:prstGeom>
          <a:solidFill>
            <a:srgbClr val="0166CB">
              <a:alpha val="25098"/>
            </a:srgb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87" name="Diamond 86">
            <a:extLst>
              <a:ext uri="{FF2B5EF4-FFF2-40B4-BE49-F238E27FC236}">
                <a16:creationId xmlns:a16="http://schemas.microsoft.com/office/drawing/2014/main" id="{560F798F-A6E9-4901-9876-CEEA523CE447}"/>
              </a:ext>
            </a:extLst>
          </p:cNvPr>
          <p:cNvSpPr/>
          <p:nvPr/>
        </p:nvSpPr>
        <p:spPr>
          <a:xfrm>
            <a:off x="10161470" y="3644860"/>
            <a:ext cx="238277" cy="240000"/>
          </a:xfrm>
          <a:prstGeom prst="diamond">
            <a:avLst/>
          </a:prstGeom>
          <a:solidFill>
            <a:srgbClr val="0166CB">
              <a:alpha val="25098"/>
            </a:srgb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ED7DC317-E9F1-45EB-BFCC-F4D58E4C5F79}"/>
              </a:ext>
            </a:extLst>
          </p:cNvPr>
          <p:cNvSpPr txBox="1"/>
          <p:nvPr/>
        </p:nvSpPr>
        <p:spPr>
          <a:xfrm rot="780000">
            <a:off x="10191797" y="5366129"/>
            <a:ext cx="19869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200">
                <a:solidFill>
                  <a:schemeClr val="bg1">
                    <a:lumMod val="75000"/>
                  </a:schemeClr>
                </a:solidFill>
                <a:latin typeface="Arial" panose="020B0604020202020204"/>
              </a:rPr>
              <a:t>Medarbeidere operative i nytt system</a:t>
            </a:r>
          </a:p>
        </p:txBody>
      </p:sp>
      <p:sp>
        <p:nvSpPr>
          <p:cNvPr id="89" name="Diamond 88">
            <a:extLst>
              <a:ext uri="{FF2B5EF4-FFF2-40B4-BE49-F238E27FC236}">
                <a16:creationId xmlns:a16="http://schemas.microsoft.com/office/drawing/2014/main" id="{D49CFDF3-087F-4C1E-9F2E-202136F2B887}"/>
              </a:ext>
            </a:extLst>
          </p:cNvPr>
          <p:cNvSpPr/>
          <p:nvPr/>
        </p:nvSpPr>
        <p:spPr>
          <a:xfrm>
            <a:off x="7646318" y="3644860"/>
            <a:ext cx="238277" cy="240000"/>
          </a:xfrm>
          <a:prstGeom prst="diamond">
            <a:avLst/>
          </a:prstGeom>
          <a:solidFill>
            <a:srgbClr val="0166CB">
              <a:alpha val="25098"/>
            </a:srgb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A886C205-5D8C-4B7F-98F5-9E59FBF2CE82}"/>
              </a:ext>
            </a:extLst>
          </p:cNvPr>
          <p:cNvSpPr txBox="1"/>
          <p:nvPr/>
        </p:nvSpPr>
        <p:spPr>
          <a:xfrm rot="780000">
            <a:off x="7617901" y="5355054"/>
            <a:ext cx="22272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200">
                <a:solidFill>
                  <a:schemeClr val="bg1">
                    <a:lumMod val="75000"/>
                  </a:schemeClr>
                </a:solidFill>
                <a:latin typeface="Arial" panose="020B0604020202020204"/>
              </a:rPr>
              <a:t>Ansatte begynner opplæring</a:t>
            </a:r>
          </a:p>
        </p:txBody>
      </p:sp>
      <p:sp>
        <p:nvSpPr>
          <p:cNvPr id="101" name="Diamond 100">
            <a:extLst>
              <a:ext uri="{FF2B5EF4-FFF2-40B4-BE49-F238E27FC236}">
                <a16:creationId xmlns:a16="http://schemas.microsoft.com/office/drawing/2014/main" id="{5ED23661-4CFE-4A80-8273-97FFB7DEB2E0}"/>
              </a:ext>
            </a:extLst>
          </p:cNvPr>
          <p:cNvSpPr/>
          <p:nvPr/>
        </p:nvSpPr>
        <p:spPr>
          <a:xfrm>
            <a:off x="2947808" y="3644860"/>
            <a:ext cx="238277" cy="240000"/>
          </a:xfrm>
          <a:prstGeom prst="diamond">
            <a:avLst/>
          </a:prstGeom>
          <a:solidFill>
            <a:srgbClr val="0166CB">
              <a:alpha val="25098"/>
            </a:srgb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6" name="TextBox 99">
            <a:extLst>
              <a:ext uri="{FF2B5EF4-FFF2-40B4-BE49-F238E27FC236}">
                <a16:creationId xmlns:a16="http://schemas.microsoft.com/office/drawing/2014/main" id="{79CDC379-649E-4D3A-B018-809E13CBEF80}"/>
              </a:ext>
            </a:extLst>
          </p:cNvPr>
          <p:cNvSpPr txBox="1"/>
          <p:nvPr/>
        </p:nvSpPr>
        <p:spPr>
          <a:xfrm rot="780000">
            <a:off x="431653" y="1297171"/>
            <a:ext cx="31124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sz="900"/>
            </a:lvl1pPr>
          </a:lstStyle>
          <a:p>
            <a:pPr defTabSz="609585"/>
            <a:r>
              <a:rPr lang="nb-NO" sz="1200">
                <a:solidFill>
                  <a:schemeClr val="bg1">
                    <a:lumMod val="75000"/>
                  </a:schemeClr>
                </a:solidFill>
                <a:latin typeface="Arial" panose="020B0604020202020204"/>
              </a:rPr>
              <a:t>Datainnsamling SAP gjennomført</a:t>
            </a:r>
          </a:p>
        </p:txBody>
      </p:sp>
      <p:sp>
        <p:nvSpPr>
          <p:cNvPr id="47" name="TextBox 99">
            <a:extLst>
              <a:ext uri="{FF2B5EF4-FFF2-40B4-BE49-F238E27FC236}">
                <a16:creationId xmlns:a16="http://schemas.microsoft.com/office/drawing/2014/main" id="{20E0C560-2AD5-412E-9816-C5FB5013C5B0}"/>
              </a:ext>
            </a:extLst>
          </p:cNvPr>
          <p:cNvSpPr txBox="1"/>
          <p:nvPr/>
        </p:nvSpPr>
        <p:spPr>
          <a:xfrm rot="780000">
            <a:off x="6529352" y="1550689"/>
            <a:ext cx="24350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sz="900"/>
            </a:lvl1pPr>
          </a:lstStyle>
          <a:p>
            <a:pPr defTabSz="609585"/>
            <a:r>
              <a:rPr lang="nb-NO" sz="1200">
                <a:solidFill>
                  <a:schemeClr val="bg1">
                    <a:lumMod val="75000"/>
                  </a:schemeClr>
                </a:solidFill>
                <a:latin typeface="Arial" panose="020B0604020202020204"/>
              </a:rPr>
              <a:t>Levert </a:t>
            </a:r>
            <a:r>
              <a:rPr lang="nb-NO" sz="1200" err="1">
                <a:solidFill>
                  <a:schemeClr val="bg1">
                    <a:lumMod val="75000"/>
                  </a:schemeClr>
                </a:solidFill>
                <a:latin typeface="Arial" panose="020B0604020202020204"/>
              </a:rPr>
              <a:t>konverteringsfil</a:t>
            </a:r>
            <a:r>
              <a:rPr lang="nb-NO" sz="1200">
                <a:solidFill>
                  <a:schemeClr val="bg1">
                    <a:lumMod val="75000"/>
                  </a:schemeClr>
                </a:solidFill>
                <a:latin typeface="Arial" panose="020B0604020202020204"/>
              </a:rPr>
              <a:t> til DFØ</a:t>
            </a:r>
          </a:p>
        </p:txBody>
      </p:sp>
      <p:sp>
        <p:nvSpPr>
          <p:cNvPr id="48" name="TextBox 99">
            <a:extLst>
              <a:ext uri="{FF2B5EF4-FFF2-40B4-BE49-F238E27FC236}">
                <a16:creationId xmlns:a16="http://schemas.microsoft.com/office/drawing/2014/main" id="{E9B9DBE3-D638-4019-A21D-FE0FC26FDCD1}"/>
              </a:ext>
            </a:extLst>
          </p:cNvPr>
          <p:cNvSpPr txBox="1"/>
          <p:nvPr/>
        </p:nvSpPr>
        <p:spPr>
          <a:xfrm rot="780000">
            <a:off x="7541611" y="1362697"/>
            <a:ext cx="235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sz="900"/>
            </a:lvl1pPr>
          </a:lstStyle>
          <a:p>
            <a:pPr defTabSz="609585"/>
            <a:r>
              <a:rPr lang="nb-NO" sz="1200">
                <a:solidFill>
                  <a:schemeClr val="bg1">
                    <a:lumMod val="75000"/>
                  </a:schemeClr>
                </a:solidFill>
                <a:latin typeface="Arial" panose="020B0604020202020204"/>
              </a:rPr>
              <a:t>Konvertering godkjent av DFØ</a:t>
            </a:r>
          </a:p>
        </p:txBody>
      </p:sp>
      <p:sp>
        <p:nvSpPr>
          <p:cNvPr id="49" name="TextBox 99">
            <a:extLst>
              <a:ext uri="{FF2B5EF4-FFF2-40B4-BE49-F238E27FC236}">
                <a16:creationId xmlns:a16="http://schemas.microsoft.com/office/drawing/2014/main" id="{1DAE9251-F5E7-40CC-BAE7-A05417BA591A}"/>
              </a:ext>
            </a:extLst>
          </p:cNvPr>
          <p:cNvSpPr txBox="1"/>
          <p:nvPr/>
        </p:nvSpPr>
        <p:spPr>
          <a:xfrm rot="780000">
            <a:off x="7560105" y="834722"/>
            <a:ext cx="34827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sz="900"/>
            </a:lvl1pPr>
          </a:lstStyle>
          <a:p>
            <a:pPr defTabSz="609585"/>
            <a:r>
              <a:rPr lang="nb-NO" sz="1200">
                <a:solidFill>
                  <a:schemeClr val="bg1">
                    <a:lumMod val="75000"/>
                  </a:schemeClr>
                </a:solidFill>
                <a:latin typeface="Arial" panose="020B0604020202020204"/>
              </a:rPr>
              <a:t>Første lønnskjøring i nytt system gjennomført</a:t>
            </a:r>
          </a:p>
        </p:txBody>
      </p:sp>
      <p:sp>
        <p:nvSpPr>
          <p:cNvPr id="52" name="TextBox 99">
            <a:extLst>
              <a:ext uri="{FF2B5EF4-FFF2-40B4-BE49-F238E27FC236}">
                <a16:creationId xmlns:a16="http://schemas.microsoft.com/office/drawing/2014/main" id="{2A679FD0-A88A-4E80-8F3D-E3FC7524CB20}"/>
              </a:ext>
            </a:extLst>
          </p:cNvPr>
          <p:cNvSpPr txBox="1"/>
          <p:nvPr/>
        </p:nvSpPr>
        <p:spPr>
          <a:xfrm rot="780000">
            <a:off x="1387612" y="1169519"/>
            <a:ext cx="32382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sz="900"/>
            </a:lvl1pPr>
          </a:lstStyle>
          <a:p>
            <a:pPr defTabSz="609585"/>
            <a:r>
              <a:rPr lang="nb-NO" sz="1200">
                <a:solidFill>
                  <a:schemeClr val="bg1">
                    <a:lumMod val="75000"/>
                  </a:schemeClr>
                </a:solidFill>
                <a:latin typeface="Arial" panose="020B0604020202020204"/>
              </a:rPr>
              <a:t> Datainnsamling UNIT 4 ERP gjennomført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8D240AC-22BC-4B77-A4EC-98F8920BCA50}"/>
              </a:ext>
            </a:extLst>
          </p:cNvPr>
          <p:cNvCxnSpPr>
            <a:cxnSpLocks/>
          </p:cNvCxnSpPr>
          <p:nvPr/>
        </p:nvCxnSpPr>
        <p:spPr>
          <a:xfrm flipV="1">
            <a:off x="3205749" y="1894459"/>
            <a:ext cx="0" cy="1320516"/>
          </a:xfrm>
          <a:prstGeom prst="line">
            <a:avLst/>
          </a:prstGeom>
          <a:ln w="25400">
            <a:solidFill>
              <a:srgbClr val="ED8013">
                <a:alpha val="25098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CABF263D-4B62-430F-BC36-84EFC11D3A6D}"/>
              </a:ext>
            </a:extLst>
          </p:cNvPr>
          <p:cNvCxnSpPr>
            <a:cxnSpLocks/>
          </p:cNvCxnSpPr>
          <p:nvPr/>
        </p:nvCxnSpPr>
        <p:spPr>
          <a:xfrm flipH="1" flipV="1">
            <a:off x="869497" y="1342601"/>
            <a:ext cx="2339449" cy="557867"/>
          </a:xfrm>
          <a:prstGeom prst="line">
            <a:avLst/>
          </a:prstGeom>
          <a:ln w="25400">
            <a:solidFill>
              <a:srgbClr val="ED8013">
                <a:alpha val="25098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60AB1254-4390-453F-A01F-3673692DCB3D}"/>
              </a:ext>
            </a:extLst>
          </p:cNvPr>
          <p:cNvCxnSpPr>
            <a:cxnSpLocks/>
          </p:cNvCxnSpPr>
          <p:nvPr/>
        </p:nvCxnSpPr>
        <p:spPr>
          <a:xfrm flipV="1">
            <a:off x="4286321" y="1762011"/>
            <a:ext cx="0" cy="1452964"/>
          </a:xfrm>
          <a:prstGeom prst="line">
            <a:avLst/>
          </a:prstGeom>
          <a:ln w="25400">
            <a:solidFill>
              <a:srgbClr val="ED8013">
                <a:alpha val="25098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A1E8D2F0-465F-48E3-99A0-948FCD212177}"/>
              </a:ext>
            </a:extLst>
          </p:cNvPr>
          <p:cNvCxnSpPr>
            <a:cxnSpLocks/>
          </p:cNvCxnSpPr>
          <p:nvPr/>
        </p:nvCxnSpPr>
        <p:spPr>
          <a:xfrm flipH="1" flipV="1">
            <a:off x="1527115" y="1107917"/>
            <a:ext cx="2758791" cy="634252"/>
          </a:xfrm>
          <a:prstGeom prst="line">
            <a:avLst/>
          </a:prstGeom>
          <a:ln w="25400">
            <a:solidFill>
              <a:srgbClr val="ED8013">
                <a:alpha val="25098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C3AE8D1-338E-4C83-BFD2-1AB5387F16B2}"/>
              </a:ext>
            </a:extLst>
          </p:cNvPr>
          <p:cNvCxnSpPr>
            <a:cxnSpLocks/>
          </p:cNvCxnSpPr>
          <p:nvPr/>
        </p:nvCxnSpPr>
        <p:spPr>
          <a:xfrm flipV="1">
            <a:off x="8588693" y="2022691"/>
            <a:ext cx="0" cy="1104275"/>
          </a:xfrm>
          <a:prstGeom prst="line">
            <a:avLst/>
          </a:prstGeom>
          <a:ln w="25400">
            <a:solidFill>
              <a:srgbClr val="ED8013">
                <a:alpha val="25098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709532D-5D54-490F-960F-596F9BA52F8F}"/>
              </a:ext>
            </a:extLst>
          </p:cNvPr>
          <p:cNvCxnSpPr>
            <a:cxnSpLocks/>
          </p:cNvCxnSpPr>
          <p:nvPr/>
        </p:nvCxnSpPr>
        <p:spPr>
          <a:xfrm flipH="1" flipV="1">
            <a:off x="6757078" y="1627945"/>
            <a:ext cx="1828004" cy="435907"/>
          </a:xfrm>
          <a:prstGeom prst="line">
            <a:avLst/>
          </a:prstGeom>
          <a:ln w="25400">
            <a:solidFill>
              <a:srgbClr val="ED8013">
                <a:alpha val="25098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DADCC65C-6A35-448C-9C91-28E3322EC785}"/>
              </a:ext>
            </a:extLst>
          </p:cNvPr>
          <p:cNvCxnSpPr>
            <a:cxnSpLocks/>
          </p:cNvCxnSpPr>
          <p:nvPr/>
        </p:nvCxnSpPr>
        <p:spPr>
          <a:xfrm flipV="1">
            <a:off x="9893672" y="1958735"/>
            <a:ext cx="0" cy="1206331"/>
          </a:xfrm>
          <a:prstGeom prst="line">
            <a:avLst/>
          </a:prstGeom>
          <a:ln w="25400">
            <a:solidFill>
              <a:srgbClr val="ED8013">
                <a:alpha val="25098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98ECB0A2-0418-4C90-997C-66ED14E4519B}"/>
              </a:ext>
            </a:extLst>
          </p:cNvPr>
          <p:cNvCxnSpPr>
            <a:cxnSpLocks/>
          </p:cNvCxnSpPr>
          <p:nvPr/>
        </p:nvCxnSpPr>
        <p:spPr>
          <a:xfrm flipH="1" flipV="1">
            <a:off x="7550612" y="1404148"/>
            <a:ext cx="2339449" cy="557867"/>
          </a:xfrm>
          <a:prstGeom prst="line">
            <a:avLst/>
          </a:prstGeom>
          <a:ln w="25400">
            <a:solidFill>
              <a:srgbClr val="ED8013">
                <a:alpha val="25098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1375B874-ABAC-436A-89CF-17CC4123F7BF}"/>
              </a:ext>
            </a:extLst>
          </p:cNvPr>
          <p:cNvCxnSpPr>
            <a:cxnSpLocks/>
          </p:cNvCxnSpPr>
          <p:nvPr/>
        </p:nvCxnSpPr>
        <p:spPr>
          <a:xfrm flipV="1">
            <a:off x="10797508" y="1450290"/>
            <a:ext cx="0" cy="1754932"/>
          </a:xfrm>
          <a:prstGeom prst="line">
            <a:avLst/>
          </a:prstGeom>
          <a:ln w="25400">
            <a:solidFill>
              <a:srgbClr val="ED8013">
                <a:alpha val="25098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0B40C027-49EB-4BFF-AD05-3FEE2144FFEE}"/>
              </a:ext>
            </a:extLst>
          </p:cNvPr>
          <p:cNvCxnSpPr>
            <a:cxnSpLocks/>
          </p:cNvCxnSpPr>
          <p:nvPr/>
        </p:nvCxnSpPr>
        <p:spPr>
          <a:xfrm flipH="1" flipV="1">
            <a:off x="7704244" y="738967"/>
            <a:ext cx="3089675" cy="710324"/>
          </a:xfrm>
          <a:prstGeom prst="line">
            <a:avLst/>
          </a:prstGeom>
          <a:ln w="25400">
            <a:solidFill>
              <a:srgbClr val="ED8013">
                <a:alpha val="25098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3CEDBBC-91F6-45D0-A84D-EAD6DF1DCF3E}"/>
              </a:ext>
            </a:extLst>
          </p:cNvPr>
          <p:cNvCxnSpPr>
            <a:cxnSpLocks/>
          </p:cNvCxnSpPr>
          <p:nvPr/>
        </p:nvCxnSpPr>
        <p:spPr>
          <a:xfrm>
            <a:off x="1028199" y="3782642"/>
            <a:ext cx="0" cy="2227182"/>
          </a:xfrm>
          <a:prstGeom prst="line">
            <a:avLst/>
          </a:prstGeom>
          <a:ln>
            <a:solidFill>
              <a:srgbClr val="0166CB">
                <a:alpha val="25098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888D119F-E9C9-4897-9093-87B218FFFB3A}"/>
              </a:ext>
            </a:extLst>
          </p:cNvPr>
          <p:cNvCxnSpPr>
            <a:cxnSpLocks/>
          </p:cNvCxnSpPr>
          <p:nvPr/>
        </p:nvCxnSpPr>
        <p:spPr>
          <a:xfrm>
            <a:off x="1039133" y="5995357"/>
            <a:ext cx="1695744" cy="394191"/>
          </a:xfrm>
          <a:prstGeom prst="line">
            <a:avLst/>
          </a:prstGeom>
          <a:ln>
            <a:solidFill>
              <a:srgbClr val="0166CB">
                <a:alpha val="25098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DCC42959-FB43-41B1-9B06-44178123403C}"/>
              </a:ext>
            </a:extLst>
          </p:cNvPr>
          <p:cNvSpPr txBox="1"/>
          <p:nvPr/>
        </p:nvSpPr>
        <p:spPr>
          <a:xfrm rot="780000">
            <a:off x="236781" y="5928437"/>
            <a:ext cx="35171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200">
                <a:solidFill>
                  <a:schemeClr val="bg1">
                    <a:lumMod val="75000"/>
                  </a:schemeClr>
                </a:solidFill>
                <a:latin typeface="Arial" panose="020B0604020202020204"/>
              </a:rPr>
              <a:t>Felles oppstart gjennomført</a:t>
            </a:r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3FB66F6D-3923-417A-98FE-3BEC478A4403}"/>
              </a:ext>
            </a:extLst>
          </p:cNvPr>
          <p:cNvCxnSpPr>
            <a:cxnSpLocks/>
            <a:stCxn id="101" idx="2"/>
          </p:cNvCxnSpPr>
          <p:nvPr/>
        </p:nvCxnSpPr>
        <p:spPr>
          <a:xfrm flipH="1">
            <a:off x="3062958" y="3884860"/>
            <a:ext cx="3989" cy="2021243"/>
          </a:xfrm>
          <a:prstGeom prst="line">
            <a:avLst/>
          </a:prstGeom>
          <a:ln>
            <a:solidFill>
              <a:srgbClr val="0166CB">
                <a:alpha val="25098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59FA8AA8-3B39-4DEF-9B10-679644975EAC}"/>
              </a:ext>
            </a:extLst>
          </p:cNvPr>
          <p:cNvCxnSpPr>
            <a:cxnSpLocks/>
          </p:cNvCxnSpPr>
          <p:nvPr/>
        </p:nvCxnSpPr>
        <p:spPr>
          <a:xfrm>
            <a:off x="3071711" y="5916935"/>
            <a:ext cx="2734283" cy="635608"/>
          </a:xfrm>
          <a:prstGeom prst="line">
            <a:avLst/>
          </a:prstGeom>
          <a:ln>
            <a:solidFill>
              <a:srgbClr val="0166CB">
                <a:alpha val="25098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8" name="TextBox 97">
            <a:extLst>
              <a:ext uri="{FF2B5EF4-FFF2-40B4-BE49-F238E27FC236}">
                <a16:creationId xmlns:a16="http://schemas.microsoft.com/office/drawing/2014/main" id="{E479CB8E-4789-4519-809D-A7B4B42959F3}"/>
              </a:ext>
            </a:extLst>
          </p:cNvPr>
          <p:cNvSpPr txBox="1"/>
          <p:nvPr/>
        </p:nvSpPr>
        <p:spPr>
          <a:xfrm rot="780000">
            <a:off x="2889997" y="5987995"/>
            <a:ext cx="31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200">
                <a:solidFill>
                  <a:schemeClr val="bg1">
                    <a:lumMod val="75000"/>
                  </a:schemeClr>
                </a:solidFill>
                <a:latin typeface="Arial" panose="020B0604020202020204"/>
              </a:rPr>
              <a:t>Endringstakt for implementering avklart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2AD441EE-ED2A-40C3-9D2A-961EEE2E52F2}"/>
              </a:ext>
            </a:extLst>
          </p:cNvPr>
          <p:cNvCxnSpPr>
            <a:cxnSpLocks/>
          </p:cNvCxnSpPr>
          <p:nvPr/>
        </p:nvCxnSpPr>
        <p:spPr>
          <a:xfrm>
            <a:off x="10278451" y="5597340"/>
            <a:ext cx="1558507" cy="369115"/>
          </a:xfrm>
          <a:prstGeom prst="line">
            <a:avLst/>
          </a:prstGeom>
          <a:ln>
            <a:solidFill>
              <a:srgbClr val="0166CB">
                <a:alpha val="25098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4" name="TextBox 99">
            <a:extLst>
              <a:ext uri="{FF2B5EF4-FFF2-40B4-BE49-F238E27FC236}">
                <a16:creationId xmlns:a16="http://schemas.microsoft.com/office/drawing/2014/main" id="{7654CDBD-2FC9-4AC8-B96B-7EC1AB418A8A}"/>
              </a:ext>
            </a:extLst>
          </p:cNvPr>
          <p:cNvSpPr txBox="1"/>
          <p:nvPr/>
        </p:nvSpPr>
        <p:spPr>
          <a:xfrm rot="780000">
            <a:off x="8671565" y="1301212"/>
            <a:ext cx="2352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sz="900"/>
            </a:lvl1pPr>
          </a:lstStyle>
          <a:p>
            <a:pPr defTabSz="609585"/>
            <a:r>
              <a:rPr lang="nb-NO" sz="1200">
                <a:solidFill>
                  <a:schemeClr val="bg1">
                    <a:lumMod val="75000"/>
                  </a:schemeClr>
                </a:solidFill>
                <a:latin typeface="Arial" panose="020B0604020202020204"/>
              </a:rPr>
              <a:t>Systembytte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44E8417D-3071-4EAA-81D0-ADE26BEF07E4}"/>
              </a:ext>
            </a:extLst>
          </p:cNvPr>
          <p:cNvCxnSpPr>
            <a:cxnSpLocks/>
          </p:cNvCxnSpPr>
          <p:nvPr/>
        </p:nvCxnSpPr>
        <p:spPr>
          <a:xfrm flipV="1">
            <a:off x="10290357" y="1703206"/>
            <a:ext cx="0" cy="1481367"/>
          </a:xfrm>
          <a:prstGeom prst="line">
            <a:avLst/>
          </a:prstGeom>
          <a:ln w="25400">
            <a:solidFill>
              <a:srgbClr val="ED8013">
                <a:alpha val="25098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14F67E81-2CE5-4A15-B32E-D6BE3F0728F9}"/>
              </a:ext>
            </a:extLst>
          </p:cNvPr>
          <p:cNvCxnSpPr>
            <a:cxnSpLocks/>
          </p:cNvCxnSpPr>
          <p:nvPr/>
        </p:nvCxnSpPr>
        <p:spPr>
          <a:xfrm flipH="1" flipV="1">
            <a:off x="9326203" y="1472423"/>
            <a:ext cx="971141" cy="231580"/>
          </a:xfrm>
          <a:prstGeom prst="line">
            <a:avLst/>
          </a:prstGeom>
          <a:ln w="25400">
            <a:solidFill>
              <a:srgbClr val="ED8013">
                <a:alpha val="25098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7" name="Diamond 96">
            <a:extLst>
              <a:ext uri="{FF2B5EF4-FFF2-40B4-BE49-F238E27FC236}">
                <a16:creationId xmlns:a16="http://schemas.microsoft.com/office/drawing/2014/main" id="{2860507D-1260-465F-BCDA-90F5D62EC502}"/>
              </a:ext>
            </a:extLst>
          </p:cNvPr>
          <p:cNvSpPr/>
          <p:nvPr/>
        </p:nvSpPr>
        <p:spPr>
          <a:xfrm>
            <a:off x="3847276" y="3592467"/>
            <a:ext cx="238277" cy="240000"/>
          </a:xfrm>
          <a:prstGeom prst="diamond">
            <a:avLst/>
          </a:prstGeom>
          <a:solidFill>
            <a:srgbClr val="0166CB">
              <a:alpha val="25098"/>
            </a:srgb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6CD9F03C-57C2-41EE-BB23-C54EF0AF1D14}"/>
              </a:ext>
            </a:extLst>
          </p:cNvPr>
          <p:cNvCxnSpPr>
            <a:cxnSpLocks/>
            <a:stCxn id="97" idx="2"/>
          </p:cNvCxnSpPr>
          <p:nvPr/>
        </p:nvCxnSpPr>
        <p:spPr>
          <a:xfrm flipH="1">
            <a:off x="3962426" y="3832467"/>
            <a:ext cx="3989" cy="1908355"/>
          </a:xfrm>
          <a:prstGeom prst="line">
            <a:avLst/>
          </a:prstGeom>
          <a:ln>
            <a:solidFill>
              <a:srgbClr val="0166CB">
                <a:alpha val="25098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36BFFC15-D45E-4B4E-AD50-78AE2B5C546F}"/>
              </a:ext>
            </a:extLst>
          </p:cNvPr>
          <p:cNvCxnSpPr>
            <a:cxnSpLocks/>
          </p:cNvCxnSpPr>
          <p:nvPr/>
        </p:nvCxnSpPr>
        <p:spPr>
          <a:xfrm>
            <a:off x="3971179" y="5831319"/>
            <a:ext cx="2734283" cy="635608"/>
          </a:xfrm>
          <a:prstGeom prst="line">
            <a:avLst/>
          </a:prstGeom>
          <a:ln>
            <a:solidFill>
              <a:srgbClr val="0166CB">
                <a:alpha val="25098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6" name="TextBox 105">
            <a:extLst>
              <a:ext uri="{FF2B5EF4-FFF2-40B4-BE49-F238E27FC236}">
                <a16:creationId xmlns:a16="http://schemas.microsoft.com/office/drawing/2014/main" id="{358E22A0-C1CF-4FFA-97E0-EC8C1CDB7638}"/>
              </a:ext>
            </a:extLst>
          </p:cNvPr>
          <p:cNvSpPr txBox="1"/>
          <p:nvPr/>
        </p:nvSpPr>
        <p:spPr>
          <a:xfrm rot="780000">
            <a:off x="3789465" y="5822713"/>
            <a:ext cx="31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200">
                <a:solidFill>
                  <a:schemeClr val="bg1">
                    <a:lumMod val="75000"/>
                  </a:schemeClr>
                </a:solidFill>
                <a:latin typeface="Arial" panose="020B0604020202020204"/>
              </a:rPr>
              <a:t>Valgte organisatoriske endringer avgjort</a:t>
            </a:r>
          </a:p>
        </p:txBody>
      </p:sp>
      <p:sp>
        <p:nvSpPr>
          <p:cNvPr id="133" name="Arrow: Pentagon 132">
            <a:extLst>
              <a:ext uri="{FF2B5EF4-FFF2-40B4-BE49-F238E27FC236}">
                <a16:creationId xmlns:a16="http://schemas.microsoft.com/office/drawing/2014/main" id="{8241F6E1-FF91-44EC-B71E-A3E464FE38AE}"/>
              </a:ext>
            </a:extLst>
          </p:cNvPr>
          <p:cNvSpPr/>
          <p:nvPr/>
        </p:nvSpPr>
        <p:spPr bwMode="gray">
          <a:xfrm>
            <a:off x="59932" y="4044841"/>
            <a:ext cx="960936" cy="230015"/>
          </a:xfrm>
          <a:prstGeom prst="homePlate">
            <a:avLst/>
          </a:prstGeom>
          <a:solidFill>
            <a:srgbClr val="0166CB">
              <a:alpha val="25098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</a:pPr>
            <a:r>
              <a:rPr lang="nb-NO" sz="933" b="1">
                <a:solidFill>
                  <a:srgbClr val="FFFFFF"/>
                </a:solidFill>
                <a:latin typeface="Calibri Light"/>
              </a:rPr>
              <a:t>Forankring</a:t>
            </a:r>
          </a:p>
        </p:txBody>
      </p:sp>
      <p:sp>
        <p:nvSpPr>
          <p:cNvPr id="134" name="Arrow: Chevron 133">
            <a:extLst>
              <a:ext uri="{FF2B5EF4-FFF2-40B4-BE49-F238E27FC236}">
                <a16:creationId xmlns:a16="http://schemas.microsoft.com/office/drawing/2014/main" id="{EF73A297-60EA-485E-A0AE-47E59DAF78E5}"/>
              </a:ext>
            </a:extLst>
          </p:cNvPr>
          <p:cNvSpPr/>
          <p:nvPr/>
        </p:nvSpPr>
        <p:spPr bwMode="gray">
          <a:xfrm>
            <a:off x="3739971" y="4044841"/>
            <a:ext cx="4144626" cy="497537"/>
          </a:xfrm>
          <a:prstGeom prst="chevron">
            <a:avLst/>
          </a:prstGeom>
          <a:solidFill>
            <a:srgbClr val="0166CB">
              <a:alpha val="25098"/>
            </a:srgbClr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</a:pPr>
            <a:r>
              <a:rPr lang="nb-NO" sz="933" b="1">
                <a:solidFill>
                  <a:srgbClr val="FFFFFF"/>
                </a:solidFill>
                <a:latin typeface="Calibri Light"/>
              </a:rPr>
              <a:t>Prosess for tilpasning av arbeidsorganisering og -deling for valgte områder</a:t>
            </a:r>
          </a:p>
        </p:txBody>
      </p:sp>
      <p:sp>
        <p:nvSpPr>
          <p:cNvPr id="135" name="Arrow: Chevron 134">
            <a:extLst>
              <a:ext uri="{FF2B5EF4-FFF2-40B4-BE49-F238E27FC236}">
                <a16:creationId xmlns:a16="http://schemas.microsoft.com/office/drawing/2014/main" id="{A34BE05D-1856-44DD-8659-FC32C4E761D1}"/>
              </a:ext>
            </a:extLst>
          </p:cNvPr>
          <p:cNvSpPr/>
          <p:nvPr/>
        </p:nvSpPr>
        <p:spPr bwMode="gray">
          <a:xfrm>
            <a:off x="7648868" y="4044841"/>
            <a:ext cx="2640336" cy="487967"/>
          </a:xfrm>
          <a:prstGeom prst="chevron">
            <a:avLst/>
          </a:prstGeom>
          <a:solidFill>
            <a:srgbClr val="0166CB">
              <a:alpha val="25098"/>
            </a:srgbClr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lnSpc>
                <a:spcPct val="106000"/>
              </a:lnSpc>
            </a:pPr>
            <a:r>
              <a:rPr lang="nb-NO" sz="933" b="1">
                <a:solidFill>
                  <a:srgbClr val="FFFFFF"/>
                </a:solidFill>
                <a:latin typeface="Calibri Light"/>
              </a:rPr>
              <a:t>Opplæring</a:t>
            </a:r>
          </a:p>
        </p:txBody>
      </p:sp>
      <p:sp>
        <p:nvSpPr>
          <p:cNvPr id="136" name="Arrow: Pentagon 135">
            <a:extLst>
              <a:ext uri="{FF2B5EF4-FFF2-40B4-BE49-F238E27FC236}">
                <a16:creationId xmlns:a16="http://schemas.microsoft.com/office/drawing/2014/main" id="{E89F2D7E-46F0-458B-A7FC-DFCEF5A4B0FC}"/>
              </a:ext>
            </a:extLst>
          </p:cNvPr>
          <p:cNvSpPr/>
          <p:nvPr/>
        </p:nvSpPr>
        <p:spPr bwMode="gray">
          <a:xfrm>
            <a:off x="59930" y="4303300"/>
            <a:ext cx="964441" cy="239747"/>
          </a:xfrm>
          <a:prstGeom prst="homePlate">
            <a:avLst/>
          </a:prstGeom>
          <a:solidFill>
            <a:srgbClr val="0166CB">
              <a:alpha val="25098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</a:pPr>
            <a:r>
              <a:rPr lang="nb-NO" sz="933" b="1">
                <a:solidFill>
                  <a:srgbClr val="FFFFFF"/>
                </a:solidFill>
                <a:latin typeface="Calibri Light"/>
              </a:rPr>
              <a:t>Innsikt</a:t>
            </a:r>
          </a:p>
        </p:txBody>
      </p:sp>
      <p:sp>
        <p:nvSpPr>
          <p:cNvPr id="137" name="Arrow: Chevron 136">
            <a:extLst>
              <a:ext uri="{FF2B5EF4-FFF2-40B4-BE49-F238E27FC236}">
                <a16:creationId xmlns:a16="http://schemas.microsoft.com/office/drawing/2014/main" id="{CDC25C6E-76E1-46CA-AEEF-A19785038F6E}"/>
              </a:ext>
            </a:extLst>
          </p:cNvPr>
          <p:cNvSpPr/>
          <p:nvPr/>
        </p:nvSpPr>
        <p:spPr bwMode="gray">
          <a:xfrm>
            <a:off x="971682" y="4044841"/>
            <a:ext cx="1819168" cy="500645"/>
          </a:xfrm>
          <a:prstGeom prst="chevron">
            <a:avLst/>
          </a:prstGeom>
          <a:solidFill>
            <a:srgbClr val="0166CB">
              <a:alpha val="25098"/>
            </a:srgbClr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</a:pPr>
            <a:r>
              <a:rPr lang="nb-NO" sz="933" b="1">
                <a:solidFill>
                  <a:srgbClr val="FFFFFF"/>
                </a:solidFill>
                <a:latin typeface="Calibri Light"/>
              </a:rPr>
              <a:t>Prosessanalyse og  arbeidsorganisering </a:t>
            </a:r>
          </a:p>
        </p:txBody>
      </p:sp>
      <p:sp>
        <p:nvSpPr>
          <p:cNvPr id="138" name="Arrow: Chevron 137">
            <a:extLst>
              <a:ext uri="{FF2B5EF4-FFF2-40B4-BE49-F238E27FC236}">
                <a16:creationId xmlns:a16="http://schemas.microsoft.com/office/drawing/2014/main" id="{481CE5E7-DE4C-4E3A-9AE5-F32605292A16}"/>
              </a:ext>
            </a:extLst>
          </p:cNvPr>
          <p:cNvSpPr/>
          <p:nvPr/>
        </p:nvSpPr>
        <p:spPr bwMode="gray">
          <a:xfrm>
            <a:off x="2594328" y="4042915"/>
            <a:ext cx="1358346" cy="507776"/>
          </a:xfrm>
          <a:prstGeom prst="chevron">
            <a:avLst/>
          </a:prstGeom>
          <a:solidFill>
            <a:srgbClr val="0166CB">
              <a:alpha val="25098"/>
            </a:srgbClr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</a:pPr>
            <a:r>
              <a:rPr lang="nb-NO" sz="933" b="1">
                <a:solidFill>
                  <a:srgbClr val="FFFFFF"/>
                </a:solidFill>
                <a:latin typeface="Calibri Light"/>
              </a:rPr>
              <a:t>Vurdering og beslutning</a:t>
            </a:r>
          </a:p>
        </p:txBody>
      </p:sp>
      <p:sp>
        <p:nvSpPr>
          <p:cNvPr id="145" name="Diamond 100">
            <a:extLst>
              <a:ext uri="{FF2B5EF4-FFF2-40B4-BE49-F238E27FC236}">
                <a16:creationId xmlns:a16="http://schemas.microsoft.com/office/drawing/2014/main" id="{3C6D3EF4-48F5-48B7-930C-0A26300D73CD}"/>
              </a:ext>
            </a:extLst>
          </p:cNvPr>
          <p:cNvSpPr/>
          <p:nvPr/>
        </p:nvSpPr>
        <p:spPr>
          <a:xfrm>
            <a:off x="211216" y="554296"/>
            <a:ext cx="238277" cy="240000"/>
          </a:xfrm>
          <a:prstGeom prst="rect">
            <a:avLst/>
          </a:prstGeom>
          <a:solidFill>
            <a:srgbClr val="ED80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5FDF5AE3-25E6-4968-8174-A8FE073652DE}"/>
              </a:ext>
            </a:extLst>
          </p:cNvPr>
          <p:cNvSpPr/>
          <p:nvPr/>
        </p:nvSpPr>
        <p:spPr>
          <a:xfrm>
            <a:off x="2148092" y="562783"/>
            <a:ext cx="238277" cy="240000"/>
          </a:xfrm>
          <a:prstGeom prst="rect">
            <a:avLst/>
          </a:prstGeom>
          <a:solidFill>
            <a:srgbClr val="0166CB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E5B63F5D-F3F8-42DA-B63E-9A138E50D54D}"/>
              </a:ext>
            </a:extLst>
          </p:cNvPr>
          <p:cNvSpPr txBox="1"/>
          <p:nvPr/>
        </p:nvSpPr>
        <p:spPr>
          <a:xfrm>
            <a:off x="436921" y="510150"/>
            <a:ext cx="157264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nb-NO" sz="1333">
                <a:solidFill>
                  <a:srgbClr val="000000"/>
                </a:solidFill>
                <a:latin typeface="Arial" panose="020B0604020202020204"/>
              </a:rPr>
              <a:t>Teknisk innføring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F36F4735-1599-4C87-9244-365A6B129150}"/>
              </a:ext>
            </a:extLst>
          </p:cNvPr>
          <p:cNvSpPr txBox="1"/>
          <p:nvPr/>
        </p:nvSpPr>
        <p:spPr>
          <a:xfrm>
            <a:off x="2309472" y="510150"/>
            <a:ext cx="204798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nb-NO" sz="1333">
                <a:solidFill>
                  <a:srgbClr val="000000"/>
                </a:solidFill>
                <a:latin typeface="Arial" panose="020B0604020202020204"/>
              </a:rPr>
              <a:t>Organisatorisk innføring</a:t>
            </a:r>
          </a:p>
        </p:txBody>
      </p:sp>
      <p:sp>
        <p:nvSpPr>
          <p:cNvPr id="149" name="Pil: femkant 56">
            <a:extLst>
              <a:ext uri="{FF2B5EF4-FFF2-40B4-BE49-F238E27FC236}">
                <a16:creationId xmlns:a16="http://schemas.microsoft.com/office/drawing/2014/main" id="{120B0078-69AC-42D8-ACD9-AAACC5B2B1CF}"/>
              </a:ext>
            </a:extLst>
          </p:cNvPr>
          <p:cNvSpPr/>
          <p:nvPr/>
        </p:nvSpPr>
        <p:spPr>
          <a:xfrm>
            <a:off x="26284" y="2396907"/>
            <a:ext cx="4589213" cy="384000"/>
          </a:xfrm>
          <a:prstGeom prst="homePlate">
            <a:avLst/>
          </a:prstGeom>
          <a:solidFill>
            <a:srgbClr val="ED8013">
              <a:alpha val="25098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defTabSz="914377">
              <a:defRPr/>
            </a:pP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Rydding i data</a:t>
            </a:r>
          </a:p>
        </p:txBody>
      </p:sp>
      <p:sp>
        <p:nvSpPr>
          <p:cNvPr id="150" name="Pil: vinkeltegn 58">
            <a:extLst>
              <a:ext uri="{FF2B5EF4-FFF2-40B4-BE49-F238E27FC236}">
                <a16:creationId xmlns:a16="http://schemas.microsoft.com/office/drawing/2014/main" id="{703EB679-7B9F-468B-B5D1-CD705CA2A66B}"/>
              </a:ext>
            </a:extLst>
          </p:cNvPr>
          <p:cNvSpPr/>
          <p:nvPr/>
        </p:nvSpPr>
        <p:spPr>
          <a:xfrm>
            <a:off x="9433137" y="2396907"/>
            <a:ext cx="1548844" cy="382348"/>
          </a:xfrm>
          <a:prstGeom prst="chevron">
            <a:avLst/>
          </a:prstGeom>
          <a:solidFill>
            <a:srgbClr val="ED8013">
              <a:alpha val="25098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algn="ctr" defTabSz="914377">
              <a:defRPr/>
            </a:pP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NTNU-firma</a:t>
            </a:r>
          </a:p>
        </p:txBody>
      </p:sp>
      <p:sp>
        <p:nvSpPr>
          <p:cNvPr id="151" name="Pil: vinkeltegn 61">
            <a:extLst>
              <a:ext uri="{FF2B5EF4-FFF2-40B4-BE49-F238E27FC236}">
                <a16:creationId xmlns:a16="http://schemas.microsoft.com/office/drawing/2014/main" id="{8D973AE8-E32A-4E9A-9C48-EB925374CEC8}"/>
              </a:ext>
            </a:extLst>
          </p:cNvPr>
          <p:cNvSpPr/>
          <p:nvPr/>
        </p:nvSpPr>
        <p:spPr>
          <a:xfrm>
            <a:off x="4461935" y="2396907"/>
            <a:ext cx="5113747" cy="384000"/>
          </a:xfrm>
          <a:prstGeom prst="chevron">
            <a:avLst/>
          </a:prstGeom>
          <a:solidFill>
            <a:srgbClr val="ED8013">
              <a:alpha val="25098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algn="ctr" defTabSz="914377">
              <a:defRPr/>
            </a:pP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Konvertering av data</a:t>
            </a:r>
          </a:p>
        </p:txBody>
      </p:sp>
      <p:sp>
        <p:nvSpPr>
          <p:cNvPr id="152" name="Pil: vinkeltegn 63">
            <a:extLst>
              <a:ext uri="{FF2B5EF4-FFF2-40B4-BE49-F238E27FC236}">
                <a16:creationId xmlns:a16="http://schemas.microsoft.com/office/drawing/2014/main" id="{7EAC0F7E-D9FC-4435-95AE-B54E3BD1FBF0}"/>
              </a:ext>
            </a:extLst>
          </p:cNvPr>
          <p:cNvSpPr/>
          <p:nvPr/>
        </p:nvSpPr>
        <p:spPr>
          <a:xfrm>
            <a:off x="7315202" y="2676239"/>
            <a:ext cx="4816868" cy="384000"/>
          </a:xfrm>
          <a:prstGeom prst="chevron">
            <a:avLst/>
          </a:prstGeom>
          <a:solidFill>
            <a:srgbClr val="ED8013">
              <a:alpha val="25098"/>
            </a:srgbClr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Sikker drift</a:t>
            </a:r>
          </a:p>
        </p:txBody>
      </p:sp>
      <p:sp>
        <p:nvSpPr>
          <p:cNvPr id="153" name="Pil: femkant 106">
            <a:extLst>
              <a:ext uri="{FF2B5EF4-FFF2-40B4-BE49-F238E27FC236}">
                <a16:creationId xmlns:a16="http://schemas.microsoft.com/office/drawing/2014/main" id="{D219EE98-F9AE-44C3-9027-40779AA296F6}"/>
              </a:ext>
            </a:extLst>
          </p:cNvPr>
          <p:cNvSpPr/>
          <p:nvPr/>
        </p:nvSpPr>
        <p:spPr>
          <a:xfrm>
            <a:off x="1900772" y="2676239"/>
            <a:ext cx="1304976" cy="384000"/>
          </a:xfrm>
          <a:prstGeom prst="homePlate">
            <a:avLst/>
          </a:prstGeom>
          <a:solidFill>
            <a:srgbClr val="ED8013">
              <a:alpha val="25098"/>
            </a:srgbClr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algn="ctr" defTabSz="914377">
              <a:defRPr/>
            </a:pP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Datainnsamling SAP</a:t>
            </a:r>
          </a:p>
        </p:txBody>
      </p:sp>
      <p:sp>
        <p:nvSpPr>
          <p:cNvPr id="154" name="Pil: vinkeltegn 107">
            <a:extLst>
              <a:ext uri="{FF2B5EF4-FFF2-40B4-BE49-F238E27FC236}">
                <a16:creationId xmlns:a16="http://schemas.microsoft.com/office/drawing/2014/main" id="{2981EED0-FC4A-437E-BD1D-ECD894237EDB}"/>
              </a:ext>
            </a:extLst>
          </p:cNvPr>
          <p:cNvSpPr/>
          <p:nvPr/>
        </p:nvSpPr>
        <p:spPr>
          <a:xfrm>
            <a:off x="3075057" y="2676239"/>
            <a:ext cx="1264376" cy="384000"/>
          </a:xfrm>
          <a:prstGeom prst="chevron">
            <a:avLst/>
          </a:prstGeom>
          <a:solidFill>
            <a:srgbClr val="ED8013">
              <a:alpha val="25098"/>
            </a:srgbClr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lIns="48000" rIns="48000" rtlCol="0" anchor="t"/>
          <a:lstStyle/>
          <a:p>
            <a:pPr algn="ctr" defTabSz="914377">
              <a:defRPr/>
            </a:pP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Datainnsamling </a:t>
            </a:r>
            <a:br>
              <a:rPr lang="nb-NO" sz="933" b="1" kern="0">
                <a:solidFill>
                  <a:srgbClr val="FFFFFF"/>
                </a:solidFill>
                <a:latin typeface="Calibri" panose="020F0502020204030204"/>
              </a:rPr>
            </a:b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UBW</a:t>
            </a:r>
          </a:p>
        </p:txBody>
      </p:sp>
      <p:sp>
        <p:nvSpPr>
          <p:cNvPr id="155" name="Tittel 1">
            <a:extLst>
              <a:ext uri="{FF2B5EF4-FFF2-40B4-BE49-F238E27FC236}">
                <a16:creationId xmlns:a16="http://schemas.microsoft.com/office/drawing/2014/main" id="{587591E9-D1C9-44D6-9106-F50F26AA3AAE}"/>
              </a:ext>
            </a:extLst>
          </p:cNvPr>
          <p:cNvSpPr txBox="1">
            <a:spLocks/>
          </p:cNvSpPr>
          <p:nvPr/>
        </p:nvSpPr>
        <p:spPr>
          <a:xfrm>
            <a:off x="140238" y="81358"/>
            <a:ext cx="11224996" cy="504947"/>
          </a:xfrm>
          <a:prstGeom prst="rect">
            <a:avLst/>
          </a:prstGeom>
        </p:spPr>
        <p:txBody>
          <a:bodyPr vert="horz" wrap="square" lIns="90000" tIns="46800" rIns="90000" bIns="468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defTabSz="812760"/>
            <a:r>
              <a:rPr lang="nb-NO" sz="2667">
                <a:solidFill>
                  <a:srgbClr val="000000"/>
                </a:solidFill>
              </a:rPr>
              <a:t>2021 – Aktivitetsoversikt – Innføring BOTT Økonomi og Lønn</a:t>
            </a:r>
          </a:p>
        </p:txBody>
      </p:sp>
      <p:sp>
        <p:nvSpPr>
          <p:cNvPr id="81" name="Diamond 80">
            <a:extLst>
              <a:ext uri="{FF2B5EF4-FFF2-40B4-BE49-F238E27FC236}">
                <a16:creationId xmlns:a16="http://schemas.microsoft.com/office/drawing/2014/main" id="{12402644-4305-4925-BFC4-199DB8D7560F}"/>
              </a:ext>
            </a:extLst>
          </p:cNvPr>
          <p:cNvSpPr/>
          <p:nvPr/>
        </p:nvSpPr>
        <p:spPr>
          <a:xfrm>
            <a:off x="2252732" y="3631652"/>
            <a:ext cx="238277" cy="240000"/>
          </a:xfrm>
          <a:prstGeom prst="diamond">
            <a:avLst/>
          </a:prstGeom>
          <a:solidFill>
            <a:srgbClr val="0166CB">
              <a:alpha val="25098"/>
            </a:srgb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C81B189D-9228-4ABC-AE73-45C2193DCAA7}"/>
              </a:ext>
            </a:extLst>
          </p:cNvPr>
          <p:cNvCxnSpPr>
            <a:cxnSpLocks/>
          </p:cNvCxnSpPr>
          <p:nvPr/>
        </p:nvCxnSpPr>
        <p:spPr>
          <a:xfrm>
            <a:off x="2357322" y="6033104"/>
            <a:ext cx="2734283" cy="635608"/>
          </a:xfrm>
          <a:prstGeom prst="line">
            <a:avLst/>
          </a:prstGeom>
          <a:ln>
            <a:solidFill>
              <a:srgbClr val="0166CB">
                <a:alpha val="25098"/>
              </a:srgb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9" name="Rectangle 98">
            <a:extLst>
              <a:ext uri="{FF2B5EF4-FFF2-40B4-BE49-F238E27FC236}">
                <a16:creationId xmlns:a16="http://schemas.microsoft.com/office/drawing/2014/main" id="{6FD08289-155F-442F-8951-4504BDEE9CCC}"/>
              </a:ext>
            </a:extLst>
          </p:cNvPr>
          <p:cNvSpPr/>
          <p:nvPr/>
        </p:nvSpPr>
        <p:spPr>
          <a:xfrm>
            <a:off x="10599575" y="81357"/>
            <a:ext cx="1531316" cy="243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09585"/>
            <a:r>
              <a:rPr lang="nb-NO" sz="933" err="1">
                <a:solidFill>
                  <a:srgbClr val="000000"/>
                </a:solidFill>
                <a:latin typeface="Arial" panose="020B0604020202020204"/>
              </a:rPr>
              <a:t>Versj</a:t>
            </a:r>
            <a:r>
              <a:rPr lang="nb-NO" sz="933">
                <a:solidFill>
                  <a:srgbClr val="000000"/>
                </a:solidFill>
                <a:latin typeface="Arial" panose="020B0604020202020204"/>
              </a:rPr>
              <a:t>. dato: 11.02.2021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1D47903-726F-4876-968E-2F1CF7FFE342}"/>
              </a:ext>
            </a:extLst>
          </p:cNvPr>
          <p:cNvSpPr txBox="1"/>
          <p:nvPr/>
        </p:nvSpPr>
        <p:spPr>
          <a:xfrm>
            <a:off x="4562273" y="507042"/>
            <a:ext cx="1710725" cy="369332"/>
          </a:xfrm>
          <a:prstGeom prst="rect">
            <a:avLst/>
          </a:prstGeom>
          <a:solidFill>
            <a:srgbClr val="92D050"/>
          </a:solidFill>
        </p:spPr>
        <p:txBody>
          <a:bodyPr wrap="none" rtlCol="0">
            <a:spAutoFit/>
          </a:bodyPr>
          <a:lstStyle/>
          <a:p>
            <a:r>
              <a:rPr lang="nb-NO"/>
              <a:t>…og BEVISST</a:t>
            </a:r>
          </a:p>
        </p:txBody>
      </p:sp>
      <p:sp>
        <p:nvSpPr>
          <p:cNvPr id="71" name="Diamond 70">
            <a:extLst>
              <a:ext uri="{FF2B5EF4-FFF2-40B4-BE49-F238E27FC236}">
                <a16:creationId xmlns:a16="http://schemas.microsoft.com/office/drawing/2014/main" id="{73D94472-FDF8-4666-807B-C71C09C15C0E}"/>
              </a:ext>
            </a:extLst>
          </p:cNvPr>
          <p:cNvSpPr/>
          <p:nvPr/>
        </p:nvSpPr>
        <p:spPr>
          <a:xfrm>
            <a:off x="1757056" y="3172258"/>
            <a:ext cx="238277" cy="240000"/>
          </a:xfrm>
          <a:prstGeom prst="diamond">
            <a:avLst/>
          </a:prstGeom>
          <a:solidFill>
            <a:srgbClr val="92D050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831C436E-4725-4A9A-A6F8-39F1A1453398}"/>
              </a:ext>
            </a:extLst>
          </p:cNvPr>
          <p:cNvCxnSpPr>
            <a:cxnSpLocks/>
          </p:cNvCxnSpPr>
          <p:nvPr/>
        </p:nvCxnSpPr>
        <p:spPr>
          <a:xfrm flipH="1" flipV="1">
            <a:off x="172301" y="1689653"/>
            <a:ext cx="1700924" cy="416018"/>
          </a:xfrm>
          <a:prstGeom prst="line">
            <a:avLst/>
          </a:prstGeom>
          <a:ln w="25400">
            <a:solidFill>
              <a:srgbClr val="92D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C69ED6C-2946-4E40-A8F0-21AF06AE5EC4}"/>
              </a:ext>
            </a:extLst>
          </p:cNvPr>
          <p:cNvSpPr txBox="1"/>
          <p:nvPr/>
        </p:nvSpPr>
        <p:spPr>
          <a:xfrm rot="824985">
            <a:off x="163418" y="1534238"/>
            <a:ext cx="211147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/>
              <a:t>Integrasjoner og K-sted tilpassing </a:t>
            </a:r>
          </a:p>
          <a:p>
            <a:r>
              <a:rPr lang="nb-NO" sz="1000"/>
              <a:t>i org.reg er gjennomført</a:t>
            </a:r>
          </a:p>
        </p:txBody>
      </p:sp>
      <p:sp>
        <p:nvSpPr>
          <p:cNvPr id="109" name="Diamond 108">
            <a:extLst>
              <a:ext uri="{FF2B5EF4-FFF2-40B4-BE49-F238E27FC236}">
                <a16:creationId xmlns:a16="http://schemas.microsoft.com/office/drawing/2014/main" id="{861B9BFA-AE5B-49A7-9971-14EBABC55DA6}"/>
              </a:ext>
            </a:extLst>
          </p:cNvPr>
          <p:cNvSpPr/>
          <p:nvPr/>
        </p:nvSpPr>
        <p:spPr>
          <a:xfrm>
            <a:off x="4330540" y="3208134"/>
            <a:ext cx="238277" cy="240000"/>
          </a:xfrm>
          <a:prstGeom prst="diamond">
            <a:avLst/>
          </a:prstGeom>
          <a:solidFill>
            <a:srgbClr val="92D050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DC535179-1E7F-48EE-8E87-0295F7BDE95B}"/>
              </a:ext>
            </a:extLst>
          </p:cNvPr>
          <p:cNvCxnSpPr>
            <a:cxnSpLocks/>
          </p:cNvCxnSpPr>
          <p:nvPr/>
        </p:nvCxnSpPr>
        <p:spPr>
          <a:xfrm flipV="1">
            <a:off x="4452043" y="1377682"/>
            <a:ext cx="1250065" cy="417666"/>
          </a:xfrm>
          <a:prstGeom prst="line">
            <a:avLst/>
          </a:prstGeom>
          <a:ln w="25400">
            <a:solidFill>
              <a:srgbClr val="92D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2" name="TextBox 111">
            <a:extLst>
              <a:ext uri="{FF2B5EF4-FFF2-40B4-BE49-F238E27FC236}">
                <a16:creationId xmlns:a16="http://schemas.microsoft.com/office/drawing/2014/main" id="{CC9F76E5-F7B2-4EB1-975B-7EC492F86466}"/>
              </a:ext>
            </a:extLst>
          </p:cNvPr>
          <p:cNvSpPr txBox="1"/>
          <p:nvPr/>
        </p:nvSpPr>
        <p:spPr>
          <a:xfrm rot="20536838">
            <a:off x="4354381" y="1121472"/>
            <a:ext cx="19367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/>
              <a:t>Beslutning om prosjektstruktur </a:t>
            </a:r>
            <a:br>
              <a:rPr lang="nb-NO" sz="1000"/>
            </a:br>
            <a:r>
              <a:rPr lang="nb-NO" sz="1000"/>
              <a:t>ny økonomimodell er tatt</a:t>
            </a:r>
          </a:p>
        </p:txBody>
      </p:sp>
      <p:sp>
        <p:nvSpPr>
          <p:cNvPr id="117" name="Diamond 116">
            <a:extLst>
              <a:ext uri="{FF2B5EF4-FFF2-40B4-BE49-F238E27FC236}">
                <a16:creationId xmlns:a16="http://schemas.microsoft.com/office/drawing/2014/main" id="{9CA40A6E-6E20-4152-A0F5-622A70710810}"/>
              </a:ext>
            </a:extLst>
          </p:cNvPr>
          <p:cNvSpPr/>
          <p:nvPr/>
        </p:nvSpPr>
        <p:spPr>
          <a:xfrm>
            <a:off x="11836650" y="3218467"/>
            <a:ext cx="238277" cy="240000"/>
          </a:xfrm>
          <a:prstGeom prst="diamond">
            <a:avLst/>
          </a:prstGeom>
          <a:solidFill>
            <a:srgbClr val="92D050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EA9A9946-92CD-4670-8134-339D14C8B7FF}"/>
              </a:ext>
            </a:extLst>
          </p:cNvPr>
          <p:cNvCxnSpPr>
            <a:cxnSpLocks/>
          </p:cNvCxnSpPr>
          <p:nvPr/>
        </p:nvCxnSpPr>
        <p:spPr>
          <a:xfrm flipH="1" flipV="1">
            <a:off x="11125552" y="1932645"/>
            <a:ext cx="800780" cy="226348"/>
          </a:xfrm>
          <a:prstGeom prst="line">
            <a:avLst/>
          </a:prstGeom>
          <a:ln w="25400">
            <a:solidFill>
              <a:srgbClr val="92D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C2926008-D39F-444E-9952-371422840158}"/>
              </a:ext>
            </a:extLst>
          </p:cNvPr>
          <p:cNvSpPr txBox="1"/>
          <p:nvPr/>
        </p:nvSpPr>
        <p:spPr>
          <a:xfrm rot="1009930">
            <a:off x="11008154" y="1676806"/>
            <a:ext cx="1273204" cy="398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/>
              <a:t>2022:Budsjett med ny økonomimodell</a:t>
            </a:r>
          </a:p>
        </p:txBody>
      </p:sp>
      <p:sp>
        <p:nvSpPr>
          <p:cNvPr id="123" name="Diamond 122">
            <a:extLst>
              <a:ext uri="{FF2B5EF4-FFF2-40B4-BE49-F238E27FC236}">
                <a16:creationId xmlns:a16="http://schemas.microsoft.com/office/drawing/2014/main" id="{867CB51C-13FE-4A5E-B94C-BD8B30DE637E}"/>
              </a:ext>
            </a:extLst>
          </p:cNvPr>
          <p:cNvSpPr/>
          <p:nvPr/>
        </p:nvSpPr>
        <p:spPr>
          <a:xfrm>
            <a:off x="9842156" y="3645238"/>
            <a:ext cx="238277" cy="240000"/>
          </a:xfrm>
          <a:prstGeom prst="diamond">
            <a:avLst/>
          </a:prstGeom>
          <a:solidFill>
            <a:srgbClr val="92D050"/>
          </a:solidFill>
          <a:ln w="19050">
            <a:solidFill>
              <a:srgbClr val="92D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0DF8336A-FE18-4436-BA5B-67531BF47565}"/>
              </a:ext>
            </a:extLst>
          </p:cNvPr>
          <p:cNvSpPr txBox="1"/>
          <p:nvPr/>
        </p:nvSpPr>
        <p:spPr>
          <a:xfrm rot="859416">
            <a:off x="10054014" y="5800418"/>
            <a:ext cx="1820678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Medarbeidere klar for å bruke BEVISST plan med ny økonomimodell for budsjett 2022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F25B1E69-6FF4-4E1A-BC9C-959E1701C344}"/>
              </a:ext>
            </a:extLst>
          </p:cNvPr>
          <p:cNvCxnSpPr>
            <a:cxnSpLocks/>
          </p:cNvCxnSpPr>
          <p:nvPr/>
        </p:nvCxnSpPr>
        <p:spPr>
          <a:xfrm>
            <a:off x="9918203" y="6242332"/>
            <a:ext cx="1737383" cy="487003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1" name="Diagram 120">
            <a:extLst>
              <a:ext uri="{FF2B5EF4-FFF2-40B4-BE49-F238E27FC236}">
                <a16:creationId xmlns:a16="http://schemas.microsoft.com/office/drawing/2014/main" id="{0BAA9795-B9FD-46D3-972F-3CA7E63E58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790429"/>
              </p:ext>
            </p:extLst>
          </p:nvPr>
        </p:nvGraphicFramePr>
        <p:xfrm>
          <a:off x="6537316" y="4601124"/>
          <a:ext cx="5608123" cy="5069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" r:lo="rId17" r:qs="rId18" r:cs="rId19"/>
          </a:graphicData>
        </a:graphic>
      </p:graphicFrame>
      <p:graphicFrame>
        <p:nvGraphicFramePr>
          <p:cNvPr id="116" name="Diagram 115">
            <a:extLst>
              <a:ext uri="{FF2B5EF4-FFF2-40B4-BE49-F238E27FC236}">
                <a16:creationId xmlns:a16="http://schemas.microsoft.com/office/drawing/2014/main" id="{7901472C-2C79-453A-82F0-122A52E0EB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71819623"/>
              </p:ext>
            </p:extLst>
          </p:nvPr>
        </p:nvGraphicFramePr>
        <p:xfrm>
          <a:off x="26284" y="2500853"/>
          <a:ext cx="12175679" cy="11688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1" r:lo="rId22" r:qs="rId23" r:cs="rId24"/>
          </a:graphicData>
        </a:graphic>
      </p:graphicFrame>
    </p:spTree>
    <p:extLst>
      <p:ext uri="{BB962C8B-B14F-4D97-AF65-F5344CB8AC3E}">
        <p14:creationId xmlns:p14="http://schemas.microsoft.com/office/powerpoint/2010/main" val="26844786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1BF79C-502F-4F81-96D6-71B28749ACE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6495" r="-1"/>
          <a:stretch/>
        </p:blipFill>
        <p:spPr>
          <a:xfrm>
            <a:off x="6686550" y="0"/>
            <a:ext cx="5505450" cy="6858000"/>
          </a:xfrm>
          <a:prstGeom prst="snip2DiagRect">
            <a:avLst>
              <a:gd name="adj1" fmla="val 33218"/>
              <a:gd name="adj2" fmla="val 0"/>
            </a:avLst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9FC920B-761B-45F9-B376-BCA0DCD1E6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7986642"/>
              </p:ext>
            </p:extLst>
          </p:nvPr>
        </p:nvGraphicFramePr>
        <p:xfrm>
          <a:off x="401847" y="1211668"/>
          <a:ext cx="5414753" cy="51206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Forventninger til Kick-</a:t>
                      </a:r>
                      <a:r>
                        <a:rPr lang="nb-NO" sz="1600" err="1">
                          <a:solidFill>
                            <a:schemeClr val="tx1"/>
                          </a:solidFill>
                        </a:rPr>
                        <a:t>off</a:t>
                      </a:r>
                      <a:endParaRPr lang="nb-NO" sz="160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251633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Prosjektorganisering og kort status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969310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/>
                        <a:t>Overordnet fremdriftspla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83103521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Hva skjer innen:</a:t>
                      </a:r>
                      <a:endParaRPr lang="nb-NO" sz="1600" b="0" u="sng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5635847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- økonomimode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6483625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u="none">
                          <a:solidFill>
                            <a:schemeClr val="tx1"/>
                          </a:solidFill>
                        </a:rPr>
                        <a:t>- BEVISS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05733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- </a:t>
                      </a:r>
                      <a:r>
                        <a:rPr lang="nb-NO" sz="1600" b="1" u="none">
                          <a:solidFill>
                            <a:schemeClr val="bg1"/>
                          </a:solidFill>
                        </a:rPr>
                        <a:t>systeminnføring</a:t>
                      </a:r>
                      <a:endParaRPr lang="nb-NO" sz="1600" b="1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8864994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- </a:t>
                      </a:r>
                      <a:r>
                        <a:rPr lang="nb-NO" sz="1600" u="none"/>
                        <a:t>prosessgjennomgan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40770477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en-US" sz="1600" b="0" i="0" u="none" kern="120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ganisasjonsprosesser</a:t>
                      </a:r>
                      <a:endParaRPr lang="nb-NO" sz="16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451191049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Pause (09.10 - 09.15)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7043672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va vil dette kreve av oss?</a:t>
                      </a: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Avrunding og veien vider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261361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30F295A-BBA8-4CA8-9BD8-09E98A7359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30F295A-BBA8-4CA8-9BD8-09E98A7359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284BE982-075B-4CFB-9EB5-51178CF8CA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EC39BD-5119-402C-A652-932320B0C0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0"/>
            <a:ext cx="11224996" cy="864683"/>
          </a:xfrm>
        </p:spPr>
        <p:txBody>
          <a:bodyPr/>
          <a:lstStyle/>
          <a:p>
            <a:r>
              <a:rPr lang="nb-NO"/>
              <a:t>Systeminnføring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FA08095-A8B7-44DF-B24C-74611879EBE3}"/>
              </a:ext>
            </a:extLst>
          </p:cNvPr>
          <p:cNvSpPr/>
          <p:nvPr/>
        </p:nvSpPr>
        <p:spPr>
          <a:xfrm>
            <a:off x="439947" y="2009505"/>
            <a:ext cx="11472653" cy="39878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09585" fontAlgn="base">
              <a:spcBef>
                <a:spcPct val="20000"/>
              </a:spcBef>
            </a:pPr>
            <a:r>
              <a:rPr lang="nn-NO" sz="1600" b="1" err="1">
                <a:solidFill>
                  <a:schemeClr val="tx2"/>
                </a:solidFill>
                <a:latin typeface="Arial"/>
                <a:cs typeface="Arial"/>
              </a:rPr>
              <a:t>Hvor</a:t>
            </a:r>
            <a:r>
              <a:rPr lang="nn-NO" sz="1600" b="1">
                <a:solidFill>
                  <a:schemeClr val="tx2"/>
                </a:solidFill>
                <a:latin typeface="Arial"/>
                <a:cs typeface="Arial"/>
              </a:rPr>
              <a:t> står vi?</a:t>
            </a:r>
          </a:p>
          <a:p>
            <a:pPr marL="456565" indent="-380365"/>
            <a:r>
              <a:rPr lang="nn-NO" sz="1400" err="1">
                <a:solidFill>
                  <a:schemeClr val="tx1"/>
                </a:solidFill>
              </a:rPr>
              <a:t>Overordnet</a:t>
            </a:r>
            <a:r>
              <a:rPr lang="nn-NO" sz="1400">
                <a:solidFill>
                  <a:schemeClr val="tx1"/>
                </a:solidFill>
              </a:rPr>
              <a:t> plan DFØ –NTNU</a:t>
            </a:r>
            <a:endParaRPr lang="nn-NO" sz="1400">
              <a:solidFill>
                <a:schemeClr val="tx1"/>
              </a:solidFill>
              <a:cs typeface="Arial"/>
            </a:endParaRPr>
          </a:p>
          <a:p>
            <a:pPr marL="456565" indent="-380365"/>
            <a:r>
              <a:rPr lang="nn-NO" sz="1400">
                <a:solidFill>
                  <a:schemeClr val="tx1"/>
                </a:solidFill>
              </a:rPr>
              <a:t>Arbeidsgrupper for datainnsamling og konvertering </a:t>
            </a:r>
          </a:p>
          <a:p>
            <a:pPr fontAlgn="base">
              <a:spcBef>
                <a:spcPct val="20000"/>
              </a:spcBef>
            </a:pPr>
            <a:br>
              <a:rPr lang="nn-NO" sz="1600" b="1"/>
            </a:br>
            <a:r>
              <a:rPr lang="nn-NO" sz="1600" b="1" err="1">
                <a:solidFill>
                  <a:schemeClr val="tx2"/>
                </a:solidFill>
                <a:latin typeface="Arial"/>
                <a:cs typeface="Arial"/>
              </a:rPr>
              <a:t>Hva</a:t>
            </a:r>
            <a:r>
              <a:rPr lang="nn-NO" sz="1600" b="1">
                <a:solidFill>
                  <a:schemeClr val="tx2"/>
                </a:solidFill>
                <a:latin typeface="Arial"/>
                <a:cs typeface="Arial"/>
              </a:rPr>
              <a:t> skjer </a:t>
            </a:r>
            <a:r>
              <a:rPr lang="nn-NO" sz="1600" b="1" err="1">
                <a:solidFill>
                  <a:schemeClr val="tx2"/>
                </a:solidFill>
                <a:latin typeface="Arial"/>
                <a:cs typeface="Arial"/>
              </a:rPr>
              <a:t>fremover</a:t>
            </a:r>
            <a:r>
              <a:rPr lang="nn-NO" sz="1600" b="1">
                <a:solidFill>
                  <a:schemeClr val="tx2"/>
                </a:solidFill>
                <a:latin typeface="Arial"/>
                <a:cs typeface="Arial"/>
              </a:rPr>
              <a:t>?</a:t>
            </a:r>
          </a:p>
          <a:p>
            <a:pPr marL="456565" indent="-380365"/>
            <a:r>
              <a:rPr lang="nn-NO" sz="1400">
                <a:solidFill>
                  <a:schemeClr val="tx1"/>
                </a:solidFill>
              </a:rPr>
              <a:t>Rydding data </a:t>
            </a:r>
            <a:endParaRPr lang="nn-NO" sz="1000">
              <a:solidFill>
                <a:schemeClr val="tx1"/>
              </a:solidFill>
            </a:endParaRPr>
          </a:p>
          <a:p>
            <a:pPr marL="456565" indent="-380365"/>
            <a:r>
              <a:rPr lang="nn-NO" sz="1400">
                <a:solidFill>
                  <a:schemeClr val="tx1"/>
                </a:solidFill>
              </a:rPr>
              <a:t>Datainnsamling SAP : 19/3 – 23/4</a:t>
            </a:r>
            <a:endParaRPr lang="nn-NO" sz="1400">
              <a:solidFill>
                <a:schemeClr val="tx1"/>
              </a:solidFill>
              <a:cs typeface="Arial"/>
            </a:endParaRPr>
          </a:p>
          <a:p>
            <a:pPr marL="456565" indent="-380365"/>
            <a:r>
              <a:rPr lang="nn-NO" sz="1400">
                <a:solidFill>
                  <a:schemeClr val="tx1"/>
                </a:solidFill>
              </a:rPr>
              <a:t>Datainnsamling </a:t>
            </a:r>
            <a:r>
              <a:rPr lang="nn-NO" sz="1400" err="1">
                <a:solidFill>
                  <a:schemeClr val="tx1"/>
                </a:solidFill>
              </a:rPr>
              <a:t>unit</a:t>
            </a:r>
            <a:r>
              <a:rPr lang="nn-NO" sz="1400">
                <a:solidFill>
                  <a:schemeClr val="tx1"/>
                </a:solidFill>
              </a:rPr>
              <a:t> 4 </a:t>
            </a:r>
            <a:r>
              <a:rPr lang="nn-NO" sz="1400" err="1">
                <a:solidFill>
                  <a:schemeClr val="tx1"/>
                </a:solidFill>
              </a:rPr>
              <a:t>erp</a:t>
            </a:r>
            <a:r>
              <a:rPr lang="nn-NO" sz="1400">
                <a:solidFill>
                  <a:schemeClr val="tx1"/>
                </a:solidFill>
              </a:rPr>
              <a:t>: 15/4 – 15/5</a:t>
            </a:r>
            <a:endParaRPr lang="nn-NO" sz="1400">
              <a:solidFill>
                <a:schemeClr val="tx1"/>
              </a:solidFill>
              <a:cs typeface="Arial"/>
            </a:endParaRPr>
          </a:p>
          <a:p>
            <a:pPr marL="456565" indent="-380365"/>
            <a:r>
              <a:rPr lang="nn-NO" sz="1400">
                <a:solidFill>
                  <a:schemeClr val="tx1"/>
                </a:solidFill>
              </a:rPr>
              <a:t>Konvertering – oktober</a:t>
            </a:r>
            <a:endParaRPr lang="nn-NO" sz="1400">
              <a:solidFill>
                <a:schemeClr val="tx1"/>
              </a:solidFill>
              <a:cs typeface="Arial"/>
            </a:endParaRPr>
          </a:p>
          <a:p>
            <a:pPr marL="989965" lvl="1" indent="-380365"/>
            <a:endParaRPr lang="nn-NO" sz="1400">
              <a:solidFill>
                <a:schemeClr val="tx1"/>
              </a:solidFill>
            </a:endParaRPr>
          </a:p>
          <a:p>
            <a:pPr indent="0" defTabSz="609585" fontAlgn="base">
              <a:spcBef>
                <a:spcPct val="20000"/>
              </a:spcBef>
              <a:buNone/>
            </a:pPr>
            <a:r>
              <a:rPr lang="nn-NO" sz="1600" b="1" err="1">
                <a:solidFill>
                  <a:schemeClr val="tx2"/>
                </a:solidFill>
                <a:latin typeface="Arial"/>
                <a:cs typeface="Arial"/>
              </a:rPr>
              <a:t>Hva</a:t>
            </a:r>
            <a:r>
              <a:rPr lang="nn-NO" sz="1600" b="1">
                <a:solidFill>
                  <a:schemeClr val="tx2"/>
                </a:solidFill>
                <a:latin typeface="Arial"/>
                <a:cs typeface="Arial"/>
              </a:rPr>
              <a:t> blir viktig?</a:t>
            </a:r>
          </a:p>
          <a:p>
            <a:pPr marL="456565" indent="-380365"/>
            <a:r>
              <a:rPr lang="nn-NO" sz="1400">
                <a:solidFill>
                  <a:schemeClr val="tx1"/>
                </a:solidFill>
              </a:rPr>
              <a:t>Prioritere rydding i data – prosjekter bør ha fokus</a:t>
            </a:r>
            <a:endParaRPr lang="nn-NO" sz="1400">
              <a:solidFill>
                <a:schemeClr val="tx1"/>
              </a:solidFill>
              <a:cs typeface="Arial"/>
            </a:endParaRPr>
          </a:p>
          <a:p>
            <a:pPr marL="456565" indent="-380365"/>
            <a:r>
              <a:rPr lang="nn-NO" sz="1400">
                <a:solidFill>
                  <a:schemeClr val="tx1"/>
                </a:solidFill>
              </a:rPr>
              <a:t>Nok </a:t>
            </a:r>
            <a:r>
              <a:rPr lang="nn-NO" sz="1400" err="1">
                <a:solidFill>
                  <a:schemeClr val="tx1"/>
                </a:solidFill>
              </a:rPr>
              <a:t>fagressurser</a:t>
            </a:r>
            <a:r>
              <a:rPr lang="nn-NO" sz="1400">
                <a:solidFill>
                  <a:schemeClr val="tx1"/>
                </a:solidFill>
              </a:rPr>
              <a:t> i arbeidet</a:t>
            </a:r>
            <a:endParaRPr lang="nn-NO" sz="1400">
              <a:solidFill>
                <a:schemeClr val="tx1"/>
              </a:solidFill>
              <a:cs typeface="Arial"/>
            </a:endParaRPr>
          </a:p>
          <a:p>
            <a:pPr marL="456565" indent="-380365"/>
            <a:r>
              <a:rPr lang="nn-NO" sz="1400">
                <a:solidFill>
                  <a:schemeClr val="tx1"/>
                </a:solidFill>
              </a:rPr>
              <a:t>Samhandling DFØ-NTNU</a:t>
            </a:r>
            <a:endParaRPr lang="nn-NO" sz="1400">
              <a:solidFill>
                <a:schemeClr val="tx1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>
              <a:solidFill>
                <a:schemeClr val="tx1"/>
              </a:solidFill>
            </a:endParaRPr>
          </a:p>
        </p:txBody>
      </p:sp>
      <p:sp>
        <p:nvSpPr>
          <p:cNvPr id="17" name="Pil: femkant 56">
            <a:extLst>
              <a:ext uri="{FF2B5EF4-FFF2-40B4-BE49-F238E27FC236}">
                <a16:creationId xmlns:a16="http://schemas.microsoft.com/office/drawing/2014/main" id="{9762976B-9C6A-474B-8DBF-BC13DF1525DA}"/>
              </a:ext>
            </a:extLst>
          </p:cNvPr>
          <p:cNvSpPr/>
          <p:nvPr/>
        </p:nvSpPr>
        <p:spPr>
          <a:xfrm>
            <a:off x="26284" y="1294073"/>
            <a:ext cx="5269051" cy="384000"/>
          </a:xfrm>
          <a:prstGeom prst="homePlate">
            <a:avLst/>
          </a:prstGeom>
          <a:solidFill>
            <a:srgbClr val="ED801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defTabSz="914377">
              <a:defRPr/>
            </a:pP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Rydding i data</a:t>
            </a:r>
          </a:p>
        </p:txBody>
      </p:sp>
      <p:sp>
        <p:nvSpPr>
          <p:cNvPr id="18" name="Pil: vinkeltegn 58">
            <a:extLst>
              <a:ext uri="{FF2B5EF4-FFF2-40B4-BE49-F238E27FC236}">
                <a16:creationId xmlns:a16="http://schemas.microsoft.com/office/drawing/2014/main" id="{BF19B135-C82F-4479-AB25-31E7F3550EA8}"/>
              </a:ext>
            </a:extLst>
          </p:cNvPr>
          <p:cNvSpPr/>
          <p:nvPr/>
        </p:nvSpPr>
        <p:spPr>
          <a:xfrm>
            <a:off x="9433137" y="1294073"/>
            <a:ext cx="1548844" cy="382348"/>
          </a:xfrm>
          <a:prstGeom prst="chevron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algn="ctr" defTabSz="914377">
              <a:defRPr/>
            </a:pPr>
            <a:r>
              <a:rPr lang="nb-NO" sz="933" b="1" kern="0">
                <a:solidFill>
                  <a:schemeClr val="bg1"/>
                </a:solidFill>
                <a:latin typeface="Calibri" panose="020F0502020204030204"/>
              </a:rPr>
              <a:t>NTNU-firma</a:t>
            </a:r>
          </a:p>
        </p:txBody>
      </p:sp>
      <p:sp>
        <p:nvSpPr>
          <p:cNvPr id="19" name="Pil: vinkeltegn 61">
            <a:extLst>
              <a:ext uri="{FF2B5EF4-FFF2-40B4-BE49-F238E27FC236}">
                <a16:creationId xmlns:a16="http://schemas.microsoft.com/office/drawing/2014/main" id="{17D5B99E-D9B7-4AF5-8732-4FE81716E50F}"/>
              </a:ext>
            </a:extLst>
          </p:cNvPr>
          <p:cNvSpPr/>
          <p:nvPr/>
        </p:nvSpPr>
        <p:spPr>
          <a:xfrm>
            <a:off x="5154614" y="1294073"/>
            <a:ext cx="4421068" cy="384000"/>
          </a:xfrm>
          <a:prstGeom prst="chevron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algn="ctr" defTabSz="914377">
              <a:defRPr/>
            </a:pPr>
            <a:r>
              <a:rPr lang="nb-NO" sz="933" b="1" kern="0">
                <a:solidFill>
                  <a:schemeClr val="bg1"/>
                </a:solidFill>
                <a:latin typeface="Calibri" panose="020F0502020204030204"/>
              </a:rPr>
              <a:t>Konvertering av data</a:t>
            </a:r>
          </a:p>
        </p:txBody>
      </p:sp>
      <p:sp>
        <p:nvSpPr>
          <p:cNvPr id="21" name="Pil: vinkeltegn 63">
            <a:extLst>
              <a:ext uri="{FF2B5EF4-FFF2-40B4-BE49-F238E27FC236}">
                <a16:creationId xmlns:a16="http://schemas.microsoft.com/office/drawing/2014/main" id="{CEF7E5F4-1680-4A0A-8C44-C420032D4EC0}"/>
              </a:ext>
            </a:extLst>
          </p:cNvPr>
          <p:cNvSpPr/>
          <p:nvPr/>
        </p:nvSpPr>
        <p:spPr>
          <a:xfrm>
            <a:off x="7315202" y="1573405"/>
            <a:ext cx="4816868" cy="384000"/>
          </a:xfrm>
          <a:prstGeom prst="chevron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r>
              <a:rPr lang="nb-NO" sz="933" b="1" kern="0">
                <a:solidFill>
                  <a:schemeClr val="bg1"/>
                </a:solidFill>
                <a:latin typeface="Calibri" panose="020F0502020204030204"/>
              </a:rPr>
              <a:t>Sikker drift</a:t>
            </a:r>
          </a:p>
        </p:txBody>
      </p:sp>
      <p:sp>
        <p:nvSpPr>
          <p:cNvPr id="22" name="Pil: femkant 106">
            <a:extLst>
              <a:ext uri="{FF2B5EF4-FFF2-40B4-BE49-F238E27FC236}">
                <a16:creationId xmlns:a16="http://schemas.microsoft.com/office/drawing/2014/main" id="{25C543CC-0421-4726-80B3-33595801B706}"/>
              </a:ext>
            </a:extLst>
          </p:cNvPr>
          <p:cNvSpPr/>
          <p:nvPr/>
        </p:nvSpPr>
        <p:spPr>
          <a:xfrm>
            <a:off x="1900772" y="1573405"/>
            <a:ext cx="1304976" cy="384000"/>
          </a:xfrm>
          <a:prstGeom prst="homePlate">
            <a:avLst/>
          </a:prstGeom>
          <a:solidFill>
            <a:srgbClr val="ED8013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algn="ctr" defTabSz="914377">
              <a:defRPr/>
            </a:pP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Datainnsamling SAP</a:t>
            </a:r>
          </a:p>
        </p:txBody>
      </p:sp>
      <p:sp>
        <p:nvSpPr>
          <p:cNvPr id="23" name="Pil: vinkeltegn 107">
            <a:extLst>
              <a:ext uri="{FF2B5EF4-FFF2-40B4-BE49-F238E27FC236}">
                <a16:creationId xmlns:a16="http://schemas.microsoft.com/office/drawing/2014/main" id="{B766480B-327C-40A1-A9D1-9B146FE0C551}"/>
              </a:ext>
            </a:extLst>
          </p:cNvPr>
          <p:cNvSpPr/>
          <p:nvPr/>
        </p:nvSpPr>
        <p:spPr>
          <a:xfrm>
            <a:off x="3075057" y="1573405"/>
            <a:ext cx="1264376" cy="384000"/>
          </a:xfrm>
          <a:prstGeom prst="chevron">
            <a:avLst/>
          </a:prstGeom>
          <a:solidFill>
            <a:srgbClr val="ED8013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lIns="48000" rIns="48000" rtlCol="0" anchor="t"/>
          <a:lstStyle/>
          <a:p>
            <a:pPr algn="ctr" defTabSz="914377">
              <a:defRPr/>
            </a:pP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Datainnsamling </a:t>
            </a:r>
            <a:br>
              <a:rPr lang="nb-NO" sz="933" b="1" kern="0">
                <a:solidFill>
                  <a:srgbClr val="FFFFFF"/>
                </a:solidFill>
                <a:latin typeface="Calibri" panose="020F0502020204030204"/>
              </a:rPr>
            </a:br>
            <a:r>
              <a:rPr lang="nb-NO" sz="933" b="1" kern="0">
                <a:solidFill>
                  <a:srgbClr val="FFFFFF"/>
                </a:solidFill>
                <a:latin typeface="Calibri" panose="020F0502020204030204"/>
              </a:rPr>
              <a:t>UBW</a:t>
            </a:r>
          </a:p>
        </p:txBody>
      </p:sp>
      <p:graphicFrame>
        <p:nvGraphicFramePr>
          <p:cNvPr id="24" name="Diagram 23">
            <a:extLst>
              <a:ext uri="{FF2B5EF4-FFF2-40B4-BE49-F238E27FC236}">
                <a16:creationId xmlns:a16="http://schemas.microsoft.com/office/drawing/2014/main" id="{5C7F54D8-AF3B-429F-98C6-67D193DA2768}"/>
              </a:ext>
            </a:extLst>
          </p:cNvPr>
          <p:cNvGraphicFramePr/>
          <p:nvPr/>
        </p:nvGraphicFramePr>
        <p:xfrm>
          <a:off x="15128" y="628374"/>
          <a:ext cx="12115763" cy="6784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5769482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1BF79C-502F-4F81-96D6-71B28749ACE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6495" r="-1"/>
          <a:stretch/>
        </p:blipFill>
        <p:spPr>
          <a:xfrm>
            <a:off x="6686550" y="0"/>
            <a:ext cx="5505450" cy="6858000"/>
          </a:xfrm>
          <a:prstGeom prst="snip2DiagRect">
            <a:avLst>
              <a:gd name="adj1" fmla="val 33218"/>
              <a:gd name="adj2" fmla="val 0"/>
            </a:avLst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9FC920B-761B-45F9-B376-BCA0DCD1E6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2457391"/>
              </p:ext>
            </p:extLst>
          </p:nvPr>
        </p:nvGraphicFramePr>
        <p:xfrm>
          <a:off x="401847" y="1211668"/>
          <a:ext cx="5414753" cy="51206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Forventninger til Kick-</a:t>
                      </a:r>
                      <a:r>
                        <a:rPr lang="nb-NO" sz="1600" err="1">
                          <a:solidFill>
                            <a:schemeClr val="tx1"/>
                          </a:solidFill>
                        </a:rPr>
                        <a:t>off</a:t>
                      </a:r>
                      <a:endParaRPr lang="nb-NO" sz="160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251633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Prosjektorganisering og kort status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969310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/>
                        <a:t>Overordnet fremdriftspla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83103521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Hva skjer innen:</a:t>
                      </a:r>
                      <a:endParaRPr lang="nb-NO" sz="1600" b="0" u="sng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5635847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- økonomimode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6483625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u="none">
                          <a:solidFill>
                            <a:schemeClr val="tx1"/>
                          </a:solidFill>
                        </a:rPr>
                        <a:t>- BEVISS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05733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- </a:t>
                      </a:r>
                      <a:r>
                        <a:rPr lang="nb-NO" sz="1600" b="0" u="none">
                          <a:solidFill>
                            <a:schemeClr val="tx1"/>
                          </a:solidFill>
                        </a:rPr>
                        <a:t>systeminnføring</a:t>
                      </a:r>
                      <a:endParaRPr lang="nb-NO" sz="1600" b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864994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- </a:t>
                      </a:r>
                      <a:r>
                        <a:rPr lang="nb-NO" sz="1600" b="1" u="none">
                          <a:solidFill>
                            <a:schemeClr val="bg1"/>
                          </a:solidFill>
                        </a:rPr>
                        <a:t>prosessgjennomgang</a:t>
                      </a:r>
                      <a:endParaRPr lang="nb-NO" sz="1600" b="1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146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70477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en-US" sz="1600" b="0" i="0" u="none" kern="120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ganisasjonsprosesser</a:t>
                      </a:r>
                      <a:endParaRPr lang="nb-NO" sz="16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451191049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Pause (09.10 - 09.15)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7043672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va vil dette kreve av oss?</a:t>
                      </a: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Avrunding og veien vider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13285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30F295A-BBA8-4CA8-9BD8-09E98A7359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612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30F295A-BBA8-4CA8-9BD8-09E98A7359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284BE982-075B-4CFB-9EB5-51178CF8CA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EC39BD-5119-402C-A652-932320B0C0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0"/>
            <a:ext cx="11224996" cy="864683"/>
          </a:xfrm>
        </p:spPr>
        <p:txBody>
          <a:bodyPr/>
          <a:lstStyle/>
          <a:p>
            <a:r>
              <a:rPr lang="nb-NO"/>
              <a:t>Prosessgjennomgang</a:t>
            </a:r>
          </a:p>
        </p:txBody>
      </p:sp>
      <p:sp>
        <p:nvSpPr>
          <p:cNvPr id="4" name="Arrow: Pentagon 3">
            <a:extLst>
              <a:ext uri="{FF2B5EF4-FFF2-40B4-BE49-F238E27FC236}">
                <a16:creationId xmlns:a16="http://schemas.microsoft.com/office/drawing/2014/main" id="{BC38ABFD-D4FC-44FF-829D-BA97DEFC5B85}"/>
              </a:ext>
            </a:extLst>
          </p:cNvPr>
          <p:cNvSpPr/>
          <p:nvPr/>
        </p:nvSpPr>
        <p:spPr bwMode="gray">
          <a:xfrm>
            <a:off x="401849" y="1402172"/>
            <a:ext cx="1092988" cy="22729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</a:pPr>
            <a:r>
              <a:rPr lang="nb-NO" sz="1200" b="1">
                <a:solidFill>
                  <a:srgbClr val="FFFFFF"/>
                </a:solidFill>
                <a:latin typeface="Calibri Light"/>
              </a:rPr>
              <a:t>Forankring</a:t>
            </a:r>
          </a:p>
        </p:txBody>
      </p:sp>
      <p:sp>
        <p:nvSpPr>
          <p:cNvPr id="5" name="Arrow: Chevron 4">
            <a:extLst>
              <a:ext uri="{FF2B5EF4-FFF2-40B4-BE49-F238E27FC236}">
                <a16:creationId xmlns:a16="http://schemas.microsoft.com/office/drawing/2014/main" id="{FF7AED25-52C7-4A97-B1FE-A83B53E4B25D}"/>
              </a:ext>
            </a:extLst>
          </p:cNvPr>
          <p:cNvSpPr/>
          <p:nvPr/>
        </p:nvSpPr>
        <p:spPr bwMode="gray">
          <a:xfrm>
            <a:off x="4679695" y="1400436"/>
            <a:ext cx="4597302" cy="501760"/>
          </a:xfrm>
          <a:prstGeom prst="chevron">
            <a:avLst/>
          </a:prstGeom>
          <a:solidFill>
            <a:schemeClr val="bg1">
              <a:lumMod val="8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lnSpc>
                <a:spcPct val="106000"/>
              </a:lnSpc>
            </a:pPr>
            <a:r>
              <a:rPr lang="nb-NO" sz="1200" b="1">
                <a:solidFill>
                  <a:srgbClr val="FFFFFF"/>
                </a:solidFill>
                <a:latin typeface="Calibri Light"/>
              </a:rPr>
              <a:t>Prosess for tilpasning av arbeidsorganisering </a:t>
            </a:r>
            <a:br>
              <a:rPr lang="nb-NO" sz="1200" b="1">
                <a:solidFill>
                  <a:srgbClr val="FFFFFF"/>
                </a:solidFill>
                <a:latin typeface="Calibri Light"/>
              </a:rPr>
            </a:br>
            <a:r>
              <a:rPr lang="nb-NO" sz="1200" b="1">
                <a:solidFill>
                  <a:srgbClr val="FFFFFF"/>
                </a:solidFill>
                <a:latin typeface="Calibri Light"/>
              </a:rPr>
              <a:t>og -deling for valgte områder</a:t>
            </a: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16CD0035-33A4-4094-9F11-42AB8914BD84}"/>
              </a:ext>
            </a:extLst>
          </p:cNvPr>
          <p:cNvSpPr/>
          <p:nvPr/>
        </p:nvSpPr>
        <p:spPr bwMode="gray">
          <a:xfrm>
            <a:off x="9033660" y="1402172"/>
            <a:ext cx="3003172" cy="482186"/>
          </a:xfrm>
          <a:prstGeom prst="chevron">
            <a:avLst/>
          </a:prstGeom>
          <a:solidFill>
            <a:schemeClr val="bg1">
              <a:lumMod val="8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lnSpc>
                <a:spcPct val="106000"/>
              </a:lnSpc>
            </a:pPr>
            <a:r>
              <a:rPr lang="nb-NO" sz="1200" b="1">
                <a:solidFill>
                  <a:srgbClr val="FFFFFF"/>
                </a:solidFill>
                <a:latin typeface="Calibri Light"/>
              </a:rPr>
              <a:t>Opplæring</a:t>
            </a:r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96A2AE79-8622-480E-B330-EA5B20DE5D01}"/>
              </a:ext>
            </a:extLst>
          </p:cNvPr>
          <p:cNvSpPr/>
          <p:nvPr/>
        </p:nvSpPr>
        <p:spPr bwMode="gray">
          <a:xfrm>
            <a:off x="401847" y="1657569"/>
            <a:ext cx="1096975" cy="236906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</a:pPr>
            <a:r>
              <a:rPr lang="nb-NO" sz="1200" b="1">
                <a:solidFill>
                  <a:srgbClr val="FFFFFF"/>
                </a:solidFill>
                <a:latin typeface="Calibri Light"/>
              </a:rPr>
              <a:t>Innsikt</a:t>
            </a:r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6AD1EC9A-7AEE-437D-B613-B69BB004D6DF}"/>
              </a:ext>
            </a:extLst>
          </p:cNvPr>
          <p:cNvSpPr/>
          <p:nvPr/>
        </p:nvSpPr>
        <p:spPr bwMode="gray">
          <a:xfrm>
            <a:off x="1438891" y="1402172"/>
            <a:ext cx="2082652" cy="494713"/>
          </a:xfrm>
          <a:prstGeom prst="chevron">
            <a:avLst/>
          </a:prstGeom>
          <a:solidFill>
            <a:srgbClr val="0166CB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</a:pPr>
            <a:r>
              <a:rPr lang="nb-NO" sz="1200" b="1">
                <a:solidFill>
                  <a:srgbClr val="FFFFFF"/>
                </a:solidFill>
                <a:latin typeface="Calibri Light"/>
              </a:rPr>
              <a:t>Prosessanalyse og  organisering </a:t>
            </a:r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00A8CD36-C41E-4B5C-99FD-735BCC329ADA}"/>
              </a:ext>
            </a:extLst>
          </p:cNvPr>
          <p:cNvSpPr/>
          <p:nvPr/>
        </p:nvSpPr>
        <p:spPr bwMode="gray">
          <a:xfrm>
            <a:off x="3302994" y="1402172"/>
            <a:ext cx="1564281" cy="501760"/>
          </a:xfrm>
          <a:prstGeom prst="chevron">
            <a:avLst/>
          </a:prstGeom>
          <a:solidFill>
            <a:srgbClr val="0166CB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 defTabSz="914377">
              <a:lnSpc>
                <a:spcPct val="106000"/>
              </a:lnSpc>
            </a:pPr>
            <a:r>
              <a:rPr lang="nb-NO" sz="1200" b="1">
                <a:solidFill>
                  <a:srgbClr val="FFFFFF"/>
                </a:solidFill>
                <a:latin typeface="Calibri Light"/>
              </a:rPr>
              <a:t>Vurdering og beslutning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FA08095-A8B7-44DF-B24C-74611879EBE3}"/>
              </a:ext>
            </a:extLst>
          </p:cNvPr>
          <p:cNvSpPr/>
          <p:nvPr/>
        </p:nvSpPr>
        <p:spPr>
          <a:xfrm>
            <a:off x="439947" y="2009505"/>
            <a:ext cx="11472653" cy="4556052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b="1">
                <a:solidFill>
                  <a:schemeClr val="accent2"/>
                </a:solidFill>
              </a:rPr>
              <a:t>Prosjektet vil ta ansvar for å:</a:t>
            </a:r>
            <a:br>
              <a:rPr lang="nb-NO" b="1">
                <a:solidFill>
                  <a:schemeClr val="accent2"/>
                </a:solidFill>
              </a:rPr>
            </a:br>
            <a:endParaRPr lang="nb-NO" b="1">
              <a:solidFill>
                <a:schemeClr val="accent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tx1"/>
                </a:solidFill>
              </a:rPr>
              <a:t>Gå gjennom </a:t>
            </a:r>
            <a:r>
              <a:rPr lang="nb-NO" err="1">
                <a:solidFill>
                  <a:schemeClr val="tx1"/>
                </a:solidFill>
              </a:rPr>
              <a:t>BOTTs</a:t>
            </a:r>
            <a:r>
              <a:rPr lang="nb-NO">
                <a:solidFill>
                  <a:schemeClr val="tx1"/>
                </a:solidFill>
              </a:rPr>
              <a:t> roller og prosesser og se på hvordan disse kan tas i bruk på tvers av nivåene for å finne den beste løsningen som utnytter mulighetene som ligger i systemene</a:t>
            </a:r>
          </a:p>
          <a:p>
            <a:endParaRPr lang="nb-NO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tx1"/>
                </a:solidFill>
              </a:rPr>
              <a:t>Se på roller, oppgaver og prosesser og utarbeide en løsningsbeskrivelse for hele NTNU innenfor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tx1"/>
                </a:solidFill>
              </a:rPr>
              <a:t>Prosjektøkonomi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tx1"/>
                </a:solidFill>
              </a:rPr>
              <a:t>Lønn og lønnsnær H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tx1"/>
                </a:solidFill>
              </a:rPr>
              <a:t>Behov til betaling</a:t>
            </a:r>
          </a:p>
          <a:p>
            <a:pPr lvl="1"/>
            <a:endParaRPr lang="nb-NO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tx1"/>
                </a:solidFill>
              </a:rPr>
              <a:t>Løsningen skal beskrive felles arbeidsform, forbedring og effektivisering av arbeidsprosessene og organisatoriske tilpasninger for å få full nytteverdi av systeme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>
              <a:solidFill>
                <a:schemeClr val="tx1"/>
              </a:solidFill>
            </a:endParaRPr>
          </a:p>
          <a:p>
            <a:r>
              <a:rPr lang="nb-NO">
                <a:solidFill>
                  <a:schemeClr val="tx1"/>
                </a:solidFill>
              </a:rPr>
              <a:t>Basert på valg løsning for arbeidsform, arbeidsprosesser og foreslåtte organisatoriske tilpasninger skal endringsbehov i forhold til dagens situasjon kartlegges  og brukes som grunnlag for å fastsette hvilke endringer som skal gjøres fra 1.1.2022 og hvilke endringer som skal gjøres påfølgende å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>
              <a:solidFill>
                <a:schemeClr val="accent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>
              <a:solidFill>
                <a:schemeClr val="accent2"/>
              </a:solidFill>
            </a:endParaRPr>
          </a:p>
        </p:txBody>
      </p:sp>
      <p:graphicFrame>
        <p:nvGraphicFramePr>
          <p:cNvPr id="14" name="Diagram 13">
            <a:extLst>
              <a:ext uri="{FF2B5EF4-FFF2-40B4-BE49-F238E27FC236}">
                <a16:creationId xmlns:a16="http://schemas.microsoft.com/office/drawing/2014/main" id="{95F0A2A0-7EFC-4C22-934C-CBD1576CB6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40355983"/>
              </p:ext>
            </p:extLst>
          </p:nvPr>
        </p:nvGraphicFramePr>
        <p:xfrm>
          <a:off x="401847" y="715914"/>
          <a:ext cx="11611715" cy="6722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41047713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937DDF-BEA5-432A-A94B-2932BBA3E0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937DDF-BEA5-432A-A94B-2932BBA3E0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0" name="Diagram 69">
            <a:extLst>
              <a:ext uri="{FF2B5EF4-FFF2-40B4-BE49-F238E27FC236}">
                <a16:creationId xmlns:a16="http://schemas.microsoft.com/office/drawing/2014/main" id="{24A0A3D9-AC06-4CD3-997F-3992696568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171872"/>
              </p:ext>
            </p:extLst>
          </p:nvPr>
        </p:nvGraphicFramePr>
        <p:xfrm>
          <a:off x="15128" y="439386"/>
          <a:ext cx="12115763" cy="9639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mc:AlternateContent xmlns:mc="http://schemas.openxmlformats.org/markup-compatibility/2006">
        <mc:Choice xmlns:p14="http://schemas.microsoft.com/office/powerpoint/2010/main" Requires="p14">
          <p:contentPart p14:bwMode="auto" r:id="rId11">
            <p14:nvContentPartPr>
              <p14:cNvPr id="23" name="Ink 22">
                <a:extLst>
                  <a:ext uri="{FF2B5EF4-FFF2-40B4-BE49-F238E27FC236}">
                    <a16:creationId xmlns:a16="http://schemas.microsoft.com/office/drawing/2014/main" id="{C7433510-A632-4AFF-A961-B9CBC14C438F}"/>
                  </a:ext>
                </a:extLst>
              </p14:cNvPr>
              <p14:cNvContentPartPr/>
              <p14:nvPr/>
            </p14:nvContentPartPr>
            <p14:xfrm>
              <a:off x="1344318" y="1516253"/>
              <a:ext cx="10134689" cy="4488328"/>
            </p14:xfrm>
          </p:contentPart>
        </mc:Choice>
        <mc:Fallback>
          <p:pic>
            <p:nvPicPr>
              <p:cNvPr id="23" name="Ink 22">
                <a:extLst>
                  <a:ext uri="{FF2B5EF4-FFF2-40B4-BE49-F238E27FC236}">
                    <a16:creationId xmlns:a16="http://schemas.microsoft.com/office/drawing/2014/main" id="{C7433510-A632-4AFF-A961-B9CBC14C438F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306159" y="1478088"/>
                <a:ext cx="10210646" cy="4564298"/>
              </a:xfrm>
              <a:prstGeom prst="rect">
                <a:avLst/>
              </a:prstGeom>
            </p:spPr>
          </p:pic>
        </mc:Fallback>
      </mc:AlternateContent>
      <p:sp>
        <p:nvSpPr>
          <p:cNvPr id="15" name="Rectangle 14">
            <a:extLst>
              <a:ext uri="{FF2B5EF4-FFF2-40B4-BE49-F238E27FC236}">
                <a16:creationId xmlns:a16="http://schemas.microsoft.com/office/drawing/2014/main" id="{F8F11F3F-8737-4BDC-A119-01ED74126620}"/>
              </a:ext>
            </a:extLst>
          </p:cNvPr>
          <p:cNvSpPr/>
          <p:nvPr/>
        </p:nvSpPr>
        <p:spPr>
          <a:xfrm>
            <a:off x="905393" y="1622854"/>
            <a:ext cx="1743537" cy="127661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0" name="Tittel 1">
            <a:extLst>
              <a:ext uri="{FF2B5EF4-FFF2-40B4-BE49-F238E27FC236}">
                <a16:creationId xmlns:a16="http://schemas.microsoft.com/office/drawing/2014/main" id="{DF0CE00B-1BE9-4657-875C-C4BC6D15F29F}"/>
              </a:ext>
            </a:extLst>
          </p:cNvPr>
          <p:cNvSpPr txBox="1">
            <a:spLocks/>
          </p:cNvSpPr>
          <p:nvPr/>
        </p:nvSpPr>
        <p:spPr>
          <a:xfrm>
            <a:off x="140238" y="81358"/>
            <a:ext cx="11224996" cy="504947"/>
          </a:xfrm>
          <a:prstGeom prst="rect">
            <a:avLst/>
          </a:prstGeom>
        </p:spPr>
        <p:txBody>
          <a:bodyPr vert="horz" wrap="square" lIns="90000" tIns="46800" rIns="90000" bIns="468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defTabSz="812760"/>
            <a:r>
              <a:rPr lang="nb-NO" sz="2667">
                <a:solidFill>
                  <a:srgbClr val="000000"/>
                </a:solidFill>
              </a:rPr>
              <a:t>Gjennomføring av prosessgjennomgang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5B78359-BE81-4542-BFA2-27FD3C4F6859}"/>
              </a:ext>
            </a:extLst>
          </p:cNvPr>
          <p:cNvSpPr txBox="1"/>
          <p:nvPr/>
        </p:nvSpPr>
        <p:spPr>
          <a:xfrm>
            <a:off x="5439646" y="1831553"/>
            <a:ext cx="1702027" cy="1046440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Kunnskapsgrunnlag 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nye BOTT-prosesser</a:t>
            </a:r>
            <a:b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</a:br>
            <a:r>
              <a:rPr lang="nb-NO" sz="1200" b="1">
                <a:solidFill>
                  <a:srgbClr val="000000"/>
                </a:solidFill>
                <a:latin typeface="Arial" panose="020B0604020202020204"/>
                <a:cs typeface="Arial"/>
              </a:rPr>
              <a:t>Grunnlag for videre arbeid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Uke 6-10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8BF2A6F-3144-4DC6-B99A-FEA975A895C6}"/>
              </a:ext>
            </a:extLst>
          </p:cNvPr>
          <p:cNvSpPr txBox="1"/>
          <p:nvPr/>
        </p:nvSpPr>
        <p:spPr>
          <a:xfrm>
            <a:off x="5150614" y="6173073"/>
            <a:ext cx="980312" cy="492443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Påskeferie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Uke 13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1AD696A-09E0-4C18-B622-69B01471CFD9}"/>
              </a:ext>
            </a:extLst>
          </p:cNvPr>
          <p:cNvSpPr txBox="1"/>
          <p:nvPr/>
        </p:nvSpPr>
        <p:spPr>
          <a:xfrm>
            <a:off x="3988497" y="1858799"/>
            <a:ext cx="804377" cy="861774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Kick-</a:t>
            </a:r>
            <a:r>
              <a:rPr lang="nb-NO" sz="1200" err="1">
                <a:solidFill>
                  <a:srgbClr val="000000"/>
                </a:solidFill>
                <a:latin typeface="Arial" panose="020B0604020202020204"/>
              </a:rPr>
              <a:t>off</a:t>
            </a:r>
            <a:endParaRPr lang="nb-NO" sz="1200">
              <a:solidFill>
                <a:srgbClr val="000000"/>
              </a:solidFill>
              <a:latin typeface="Arial" panose="020B0604020202020204"/>
            </a:endParaRP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Uke 6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(11.02.21)</a:t>
            </a:r>
            <a:r>
              <a:rPr lang="nb-NO" sz="1200" b="1">
                <a:solidFill>
                  <a:srgbClr val="000000"/>
                </a:solidFill>
                <a:latin typeface="Arial" panose="020B0604020202020204"/>
              </a:rPr>
              <a:t> </a:t>
            </a:r>
          </a:p>
        </p:txBody>
      </p:sp>
      <p:sp>
        <p:nvSpPr>
          <p:cNvPr id="27" name="AutoShape 42">
            <a:extLst>
              <a:ext uri="{FF2B5EF4-FFF2-40B4-BE49-F238E27FC236}">
                <a16:creationId xmlns:a16="http://schemas.microsoft.com/office/drawing/2014/main" id="{5108459E-FF6B-4571-B8D8-A866AB2C9FD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94451" y="3243510"/>
            <a:ext cx="388140" cy="388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nb-NO" sz="933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A843CD2-8E0D-488A-B560-4C83E77C7D85}"/>
              </a:ext>
            </a:extLst>
          </p:cNvPr>
          <p:cNvSpPr txBox="1"/>
          <p:nvPr/>
        </p:nvSpPr>
        <p:spPr>
          <a:xfrm>
            <a:off x="6926477" y="5670338"/>
            <a:ext cx="1702027" cy="677108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Beslutningsgrunnlag 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nye BOTT-prosesser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Uke 14-15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79B9F87-8BA5-45B2-B6C7-1F9DECD023DD}"/>
              </a:ext>
            </a:extLst>
          </p:cNvPr>
          <p:cNvSpPr txBox="1"/>
          <p:nvPr/>
        </p:nvSpPr>
        <p:spPr>
          <a:xfrm>
            <a:off x="2691608" y="6287453"/>
            <a:ext cx="2021612" cy="677108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Gap-analyse 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nye prosesser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Uke 13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C9B7204-8DD1-4306-8119-EA3AEF1758B6}"/>
              </a:ext>
            </a:extLst>
          </p:cNvPr>
          <p:cNvSpPr txBox="1"/>
          <p:nvPr/>
        </p:nvSpPr>
        <p:spPr>
          <a:xfrm>
            <a:off x="7478781" y="6567478"/>
            <a:ext cx="4574289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nb-NO" sz="933" baseline="30000">
                <a:solidFill>
                  <a:srgbClr val="000000"/>
                </a:solidFill>
                <a:latin typeface="Arial" panose="020B0604020202020204"/>
              </a:rPr>
              <a:t>*)</a:t>
            </a:r>
            <a:r>
              <a:rPr lang="nb-NO" sz="933">
                <a:solidFill>
                  <a:srgbClr val="000000"/>
                </a:solidFill>
                <a:latin typeface="Arial" panose="020B0604020202020204"/>
              </a:rPr>
              <a:t> Det legges opp til løpende behandling i SESAM, AMU og LOSAM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935C947-70D4-45C2-9B16-45E5F2670CBA}"/>
              </a:ext>
            </a:extLst>
          </p:cNvPr>
          <p:cNvSpPr txBox="1"/>
          <p:nvPr/>
        </p:nvSpPr>
        <p:spPr>
          <a:xfrm>
            <a:off x="2032480" y="2318529"/>
            <a:ext cx="1702027" cy="861774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Lokal 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Interessent-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analyse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Uke 5-7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847D201-0C1C-4635-8D7B-4F075A5903DF}"/>
              </a:ext>
            </a:extLst>
          </p:cNvPr>
          <p:cNvSpPr txBox="1"/>
          <p:nvPr/>
        </p:nvSpPr>
        <p:spPr>
          <a:xfrm>
            <a:off x="3946255" y="4487946"/>
            <a:ext cx="1221068" cy="1046440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Design sprint </a:t>
            </a:r>
          </a:p>
          <a:p>
            <a:pPr algn="ctr" defTabSz="914354">
              <a:defRPr/>
            </a:pPr>
            <a:r>
              <a:rPr lang="nb-NO" sz="1200" b="1">
                <a:solidFill>
                  <a:srgbClr val="000000"/>
                </a:solidFill>
                <a:latin typeface="Arial" panose="020B0604020202020204"/>
              </a:rPr>
              <a:t>Behov til betaling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Uke 11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(15.03.21) 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8ECAB1A-EBBD-4298-8DE9-2EC6176C6CF5}"/>
              </a:ext>
            </a:extLst>
          </p:cNvPr>
          <p:cNvSpPr txBox="1"/>
          <p:nvPr/>
        </p:nvSpPr>
        <p:spPr>
          <a:xfrm>
            <a:off x="7720996" y="3484733"/>
            <a:ext cx="1136097" cy="1231106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Design sprint </a:t>
            </a:r>
          </a:p>
          <a:p>
            <a:pPr algn="ctr" defTabSz="914354">
              <a:defRPr/>
            </a:pPr>
            <a:r>
              <a:rPr lang="nb-NO" sz="1200" b="1">
                <a:solidFill>
                  <a:srgbClr val="000000"/>
                </a:solidFill>
                <a:latin typeface="Arial" panose="020B0604020202020204"/>
              </a:rPr>
              <a:t>Lønn og lønnsnær HR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Uke 9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(01.03.21) 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803D495-E671-4D58-9110-5878C37AD6AB}"/>
              </a:ext>
            </a:extLst>
          </p:cNvPr>
          <p:cNvSpPr txBox="1"/>
          <p:nvPr/>
        </p:nvSpPr>
        <p:spPr>
          <a:xfrm>
            <a:off x="5634218" y="3937978"/>
            <a:ext cx="1655604" cy="861774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Design sprint</a:t>
            </a:r>
          </a:p>
          <a:p>
            <a:pPr algn="ctr" defTabSz="914354">
              <a:defRPr/>
            </a:pPr>
            <a:r>
              <a:rPr lang="nb-NO" sz="1200" b="1">
                <a:solidFill>
                  <a:srgbClr val="000000"/>
                </a:solidFill>
                <a:latin typeface="Arial" panose="020B0604020202020204"/>
              </a:rPr>
              <a:t>Prosjektøkonomi</a:t>
            </a: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 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Uke 10 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(08.03.21)</a:t>
            </a: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A92C3864-D0E3-49CF-86CE-F9D2F268188D}"/>
              </a:ext>
            </a:extLst>
          </p:cNvPr>
          <p:cNvSpPr/>
          <p:nvPr/>
        </p:nvSpPr>
        <p:spPr>
          <a:xfrm>
            <a:off x="5366790" y="5542880"/>
            <a:ext cx="550120" cy="55012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84" name="Graphic 83" descr="Pause">
            <a:extLst>
              <a:ext uri="{FF2B5EF4-FFF2-40B4-BE49-F238E27FC236}">
                <a16:creationId xmlns:a16="http://schemas.microsoft.com/office/drawing/2014/main" id="{260E7516-0EF3-4230-991B-F0B5AD6731C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483315" y="5659405"/>
            <a:ext cx="317072" cy="317072"/>
          </a:xfrm>
          <a:prstGeom prst="rect">
            <a:avLst/>
          </a:prstGeom>
        </p:spPr>
      </p:pic>
      <p:sp>
        <p:nvSpPr>
          <p:cNvPr id="116" name="Oval 115">
            <a:extLst>
              <a:ext uri="{FF2B5EF4-FFF2-40B4-BE49-F238E27FC236}">
                <a16:creationId xmlns:a16="http://schemas.microsoft.com/office/drawing/2014/main" id="{36620D5C-E370-47DE-A6DA-C0E1A210E22C}"/>
              </a:ext>
            </a:extLst>
          </p:cNvPr>
          <p:cNvSpPr/>
          <p:nvPr/>
        </p:nvSpPr>
        <p:spPr>
          <a:xfrm>
            <a:off x="5981945" y="1221693"/>
            <a:ext cx="550120" cy="550120"/>
          </a:xfrm>
          <a:prstGeom prst="ellipse">
            <a:avLst/>
          </a:prstGeom>
          <a:solidFill>
            <a:srgbClr val="8D9C1B"/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117" name="Graphic 116" descr="Group brainstorm">
            <a:extLst>
              <a:ext uri="{FF2B5EF4-FFF2-40B4-BE49-F238E27FC236}">
                <a16:creationId xmlns:a16="http://schemas.microsoft.com/office/drawing/2014/main" id="{4C48F631-DDCC-41D5-9478-D3530DF6E4F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050710" y="1290458"/>
            <a:ext cx="412590" cy="412590"/>
          </a:xfrm>
          <a:prstGeom prst="rect">
            <a:avLst/>
          </a:prstGeom>
        </p:spPr>
      </p:pic>
      <p:sp>
        <p:nvSpPr>
          <p:cNvPr id="119" name="Oval 118">
            <a:extLst>
              <a:ext uri="{FF2B5EF4-FFF2-40B4-BE49-F238E27FC236}">
                <a16:creationId xmlns:a16="http://schemas.microsoft.com/office/drawing/2014/main" id="{855BDA43-B2BB-4B9E-8DFA-85017201E705}"/>
              </a:ext>
            </a:extLst>
          </p:cNvPr>
          <p:cNvSpPr/>
          <p:nvPr/>
        </p:nvSpPr>
        <p:spPr>
          <a:xfrm>
            <a:off x="2594272" y="1744518"/>
            <a:ext cx="550120" cy="550120"/>
          </a:xfrm>
          <a:prstGeom prst="ellips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120" name="Graphic 119" descr="Group brainstorm">
            <a:extLst>
              <a:ext uri="{FF2B5EF4-FFF2-40B4-BE49-F238E27FC236}">
                <a16:creationId xmlns:a16="http://schemas.microsoft.com/office/drawing/2014/main" id="{3C7C7820-9EA5-4D11-9DD4-A84047A8306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663037" y="1813283"/>
            <a:ext cx="412590" cy="412590"/>
          </a:xfrm>
          <a:prstGeom prst="rect">
            <a:avLst/>
          </a:prstGeom>
        </p:spPr>
      </p:pic>
      <p:sp>
        <p:nvSpPr>
          <p:cNvPr id="122" name="Oval 121">
            <a:extLst>
              <a:ext uri="{FF2B5EF4-FFF2-40B4-BE49-F238E27FC236}">
                <a16:creationId xmlns:a16="http://schemas.microsoft.com/office/drawing/2014/main" id="{569F4808-126A-4939-942E-004A229A4315}"/>
              </a:ext>
            </a:extLst>
          </p:cNvPr>
          <p:cNvSpPr/>
          <p:nvPr/>
        </p:nvSpPr>
        <p:spPr>
          <a:xfrm>
            <a:off x="4113222" y="1288438"/>
            <a:ext cx="550120" cy="550120"/>
          </a:xfrm>
          <a:prstGeom prst="ellipse">
            <a:avLst/>
          </a:prstGeom>
          <a:solidFill>
            <a:srgbClr val="8D9C1B"/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127" name="Graphic 126" descr="Group brainstorm">
            <a:extLst>
              <a:ext uri="{FF2B5EF4-FFF2-40B4-BE49-F238E27FC236}">
                <a16:creationId xmlns:a16="http://schemas.microsoft.com/office/drawing/2014/main" id="{727B3FFB-ABDF-4B16-BC83-C1EEF8B4883B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181987" y="1357203"/>
            <a:ext cx="412590" cy="412590"/>
          </a:xfrm>
          <a:prstGeom prst="rect">
            <a:avLst/>
          </a:prstGeom>
        </p:spPr>
      </p:pic>
      <p:sp>
        <p:nvSpPr>
          <p:cNvPr id="129" name="Oval 128">
            <a:extLst>
              <a:ext uri="{FF2B5EF4-FFF2-40B4-BE49-F238E27FC236}">
                <a16:creationId xmlns:a16="http://schemas.microsoft.com/office/drawing/2014/main" id="{18EC1CA7-C53A-45DE-B096-24354F0CD62B}"/>
              </a:ext>
            </a:extLst>
          </p:cNvPr>
          <p:cNvSpPr/>
          <p:nvPr/>
        </p:nvSpPr>
        <p:spPr>
          <a:xfrm>
            <a:off x="4352060" y="3923371"/>
            <a:ext cx="550120" cy="550120"/>
          </a:xfrm>
          <a:prstGeom prst="ellipse">
            <a:avLst/>
          </a:prstGeom>
          <a:solidFill>
            <a:srgbClr val="8D9C1B"/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32" name="Oval 131">
            <a:extLst>
              <a:ext uri="{FF2B5EF4-FFF2-40B4-BE49-F238E27FC236}">
                <a16:creationId xmlns:a16="http://schemas.microsoft.com/office/drawing/2014/main" id="{C2267C31-91C7-46DC-9405-25358E724B54}"/>
              </a:ext>
            </a:extLst>
          </p:cNvPr>
          <p:cNvSpPr/>
          <p:nvPr/>
        </p:nvSpPr>
        <p:spPr>
          <a:xfrm>
            <a:off x="6186960" y="3371716"/>
            <a:ext cx="550120" cy="550120"/>
          </a:xfrm>
          <a:prstGeom prst="ellipse">
            <a:avLst/>
          </a:prstGeom>
          <a:solidFill>
            <a:srgbClr val="8D9C1B"/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5E2D09B5-8E52-4F1E-A84B-06F57832D4B7}"/>
              </a:ext>
            </a:extLst>
          </p:cNvPr>
          <p:cNvGrpSpPr/>
          <p:nvPr/>
        </p:nvGrpSpPr>
        <p:grpSpPr>
          <a:xfrm>
            <a:off x="3469807" y="5716753"/>
            <a:ext cx="550120" cy="550120"/>
            <a:chOff x="3387259" y="1909512"/>
            <a:chExt cx="432000" cy="432000"/>
          </a:xfrm>
        </p:grpSpPr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A5456F6C-B3A2-449A-BF01-4434ABFC7D55}"/>
                </a:ext>
              </a:extLst>
            </p:cNvPr>
            <p:cNvSpPr/>
            <p:nvPr/>
          </p:nvSpPr>
          <p:spPr>
            <a:xfrm>
              <a:off x="3387259" y="1909512"/>
              <a:ext cx="432000" cy="432000"/>
            </a:xfrm>
            <a:prstGeom prst="ellipse">
              <a:avLst/>
            </a:prstGeom>
            <a:solidFill>
              <a:srgbClr val="8D9C1B"/>
            </a:solidFill>
            <a:ln w="28575">
              <a:solidFill>
                <a:schemeClr val="bg1"/>
              </a:solidFill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54">
                <a:defRPr/>
              </a:pPr>
              <a:endParaRPr lang="nb-NO" sz="933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pic>
          <p:nvPicPr>
            <p:cNvPr id="142" name="Graphic 141" descr="Group brainstorm">
              <a:extLst>
                <a:ext uri="{FF2B5EF4-FFF2-40B4-BE49-F238E27FC236}">
                  <a16:creationId xmlns:a16="http://schemas.microsoft.com/office/drawing/2014/main" id="{43731233-26A1-405A-B91C-9E5FFCB0146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3441259" y="1963512"/>
              <a:ext cx="324000" cy="324000"/>
            </a:xfrm>
            <a:prstGeom prst="rect">
              <a:avLst/>
            </a:prstGeom>
          </p:spPr>
        </p:pic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347B85E9-B34E-41FB-A7D5-CB4203670AD8}"/>
              </a:ext>
            </a:extLst>
          </p:cNvPr>
          <p:cNvGrpSpPr/>
          <p:nvPr/>
        </p:nvGrpSpPr>
        <p:grpSpPr>
          <a:xfrm>
            <a:off x="7436739" y="4992760"/>
            <a:ext cx="550120" cy="550120"/>
            <a:chOff x="3387259" y="1909512"/>
            <a:chExt cx="432000" cy="432000"/>
          </a:xfrm>
        </p:grpSpPr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93D56685-815D-4B8E-87D4-B8AA9435B2B7}"/>
                </a:ext>
              </a:extLst>
            </p:cNvPr>
            <p:cNvSpPr/>
            <p:nvPr/>
          </p:nvSpPr>
          <p:spPr>
            <a:xfrm>
              <a:off x="3387259" y="1909512"/>
              <a:ext cx="432000" cy="432000"/>
            </a:xfrm>
            <a:prstGeom prst="ellipse">
              <a:avLst/>
            </a:prstGeom>
            <a:solidFill>
              <a:srgbClr val="8D9C1B"/>
            </a:solidFill>
            <a:ln w="28575">
              <a:solidFill>
                <a:schemeClr val="bg1"/>
              </a:solidFill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54">
                <a:defRPr/>
              </a:pPr>
              <a:endParaRPr lang="nb-NO" sz="933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pic>
          <p:nvPicPr>
            <p:cNvPr id="145" name="Graphic 144" descr="Group brainstorm">
              <a:extLst>
                <a:ext uri="{FF2B5EF4-FFF2-40B4-BE49-F238E27FC236}">
                  <a16:creationId xmlns:a16="http://schemas.microsoft.com/office/drawing/2014/main" id="{28F36C86-7218-471E-9BDA-934CCCA2C60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3441259" y="1963512"/>
              <a:ext cx="324000" cy="324000"/>
            </a:xfrm>
            <a:prstGeom prst="rect">
              <a:avLst/>
            </a:prstGeom>
          </p:spPr>
        </p:pic>
      </p:grpSp>
      <p:sp>
        <p:nvSpPr>
          <p:cNvPr id="146" name="TextBox 145">
            <a:extLst>
              <a:ext uri="{FF2B5EF4-FFF2-40B4-BE49-F238E27FC236}">
                <a16:creationId xmlns:a16="http://schemas.microsoft.com/office/drawing/2014/main" id="{7321B79F-9807-46C8-A245-E97857756C3F}"/>
              </a:ext>
            </a:extLst>
          </p:cNvPr>
          <p:cNvSpPr txBox="1"/>
          <p:nvPr/>
        </p:nvSpPr>
        <p:spPr>
          <a:xfrm>
            <a:off x="-925436" y="4802136"/>
            <a:ext cx="3506067" cy="1092607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r" defTabSz="914354"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  <a:cs typeface="Arial"/>
              </a:rPr>
              <a:t>Organisatorisk behandling nye prosesser</a:t>
            </a:r>
          </a:p>
          <a:p>
            <a:pPr algn="r" defTabSz="914354">
              <a:defRPr/>
            </a:pPr>
            <a:r>
              <a:rPr lang="nb-NO" sz="1050" b="1">
                <a:solidFill>
                  <a:srgbClr val="000000"/>
                </a:solidFill>
                <a:latin typeface="Arial" panose="020B0604020202020204"/>
                <a:cs typeface="Arial"/>
              </a:rPr>
              <a:t>Arbeidsorganisering/deling</a:t>
            </a:r>
          </a:p>
          <a:p>
            <a:pPr algn="r" defTabSz="914354"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  <a:cs typeface="Arial"/>
              </a:rPr>
              <a:t>15.03 Styringsgruppemøte</a:t>
            </a:r>
          </a:p>
          <a:p>
            <a:pPr algn="r" defTabSz="914354"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  <a:cs typeface="Arial"/>
              </a:rPr>
              <a:t>18.03 Administrativt lederforum</a:t>
            </a:r>
          </a:p>
          <a:p>
            <a:pPr algn="r" defTabSz="914354"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  <a:cs typeface="Arial"/>
              </a:rPr>
              <a:t>26.03 SESAM</a:t>
            </a:r>
          </a:p>
          <a:p>
            <a:pPr algn="r" defTabSz="914354"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  <a:cs typeface="Arial"/>
              </a:rPr>
              <a:t>30.03 Dekanmøte </a:t>
            </a: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057B64EC-D289-4B3B-9D0C-E115F7961A44}"/>
              </a:ext>
            </a:extLst>
          </p:cNvPr>
          <p:cNvGrpSpPr/>
          <p:nvPr/>
        </p:nvGrpSpPr>
        <p:grpSpPr>
          <a:xfrm>
            <a:off x="2531805" y="4971818"/>
            <a:ext cx="550120" cy="550120"/>
            <a:chOff x="1146518" y="1268083"/>
            <a:chExt cx="432000" cy="432000"/>
          </a:xfrm>
        </p:grpSpPr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316707A2-D765-4D6F-8D82-67CF43FDC4E0}"/>
                </a:ext>
              </a:extLst>
            </p:cNvPr>
            <p:cNvSpPr/>
            <p:nvPr/>
          </p:nvSpPr>
          <p:spPr>
            <a:xfrm>
              <a:off x="1146518" y="1268083"/>
              <a:ext cx="432000" cy="432000"/>
            </a:xfrm>
            <a:prstGeom prst="ellipse">
              <a:avLst/>
            </a:prstGeom>
            <a:solidFill>
              <a:srgbClr val="014693"/>
            </a:solidFill>
            <a:ln w="28575">
              <a:solidFill>
                <a:schemeClr val="bg1"/>
              </a:solidFill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54">
                <a:defRPr/>
              </a:pPr>
              <a:endParaRPr lang="nb-NO" sz="933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pic>
          <p:nvPicPr>
            <p:cNvPr id="149" name="Graphic 148" descr="Meeting">
              <a:extLst>
                <a:ext uri="{FF2B5EF4-FFF2-40B4-BE49-F238E27FC236}">
                  <a16:creationId xmlns:a16="http://schemas.microsoft.com/office/drawing/2014/main" id="{19A98BAA-57B1-4583-AA8F-F596B3CEA557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1189718" y="1287524"/>
              <a:ext cx="345600" cy="345600"/>
            </a:xfrm>
            <a:prstGeom prst="rect">
              <a:avLst/>
            </a:prstGeom>
          </p:spPr>
        </p:pic>
      </p:grpSp>
      <p:sp>
        <p:nvSpPr>
          <p:cNvPr id="162" name="TextBox 161">
            <a:extLst>
              <a:ext uri="{FF2B5EF4-FFF2-40B4-BE49-F238E27FC236}">
                <a16:creationId xmlns:a16="http://schemas.microsoft.com/office/drawing/2014/main" id="{86BD26B7-BE5B-407E-92D9-8D13E85158FD}"/>
              </a:ext>
            </a:extLst>
          </p:cNvPr>
          <p:cNvSpPr txBox="1"/>
          <p:nvPr/>
        </p:nvSpPr>
        <p:spPr>
          <a:xfrm>
            <a:off x="8230609" y="5180627"/>
            <a:ext cx="3674959" cy="1415772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Organisatorisk behandling </a:t>
            </a:r>
          </a:p>
          <a:p>
            <a:pPr algn="ctr" defTabSz="914354">
              <a:defRPr/>
            </a:pPr>
            <a:r>
              <a:rPr lang="nb-NO" sz="1200" b="1">
                <a:solidFill>
                  <a:srgbClr val="000000"/>
                </a:solidFill>
                <a:latin typeface="Arial" panose="020B0604020202020204"/>
                <a:cs typeface="Arial"/>
              </a:rPr>
              <a:t>Implementeringsplan for ny arbeidsorganisering og deling 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05.04 Styringsgruppemøte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xx.04 Administrativt lederforum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16.04 SESAM</a:t>
            </a:r>
          </a:p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20.04 Dekanmøte </a:t>
            </a:r>
          </a:p>
        </p:txBody>
      </p: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9B6A39EC-6478-4B7A-B3F6-E7DCA0F5846E}"/>
              </a:ext>
            </a:extLst>
          </p:cNvPr>
          <p:cNvGrpSpPr/>
          <p:nvPr/>
        </p:nvGrpSpPr>
        <p:grpSpPr>
          <a:xfrm>
            <a:off x="9770426" y="4603407"/>
            <a:ext cx="550120" cy="550120"/>
            <a:chOff x="1146518" y="1268083"/>
            <a:chExt cx="432000" cy="432000"/>
          </a:xfrm>
        </p:grpSpPr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8E6FE1AC-E198-4211-BA16-CC2A9EE2FC69}"/>
                </a:ext>
              </a:extLst>
            </p:cNvPr>
            <p:cNvSpPr/>
            <p:nvPr/>
          </p:nvSpPr>
          <p:spPr>
            <a:xfrm>
              <a:off x="1146518" y="1268083"/>
              <a:ext cx="432000" cy="432000"/>
            </a:xfrm>
            <a:prstGeom prst="ellipse">
              <a:avLst/>
            </a:prstGeom>
            <a:solidFill>
              <a:srgbClr val="014693"/>
            </a:solidFill>
            <a:ln w="28575">
              <a:solidFill>
                <a:schemeClr val="bg1"/>
              </a:solidFill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54">
                <a:defRPr/>
              </a:pPr>
              <a:endParaRPr lang="nb-NO" sz="933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pic>
          <p:nvPicPr>
            <p:cNvPr id="165" name="Graphic 164" descr="Meeting">
              <a:extLst>
                <a:ext uri="{FF2B5EF4-FFF2-40B4-BE49-F238E27FC236}">
                  <a16:creationId xmlns:a16="http://schemas.microsoft.com/office/drawing/2014/main" id="{76AB784B-6E5A-49DE-8D5A-4B56FE4658A6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1189718" y="1287524"/>
              <a:ext cx="345600" cy="345600"/>
            </a:xfrm>
            <a:prstGeom prst="rect">
              <a:avLst/>
            </a:prstGeom>
          </p:spPr>
        </p:pic>
      </p:grpSp>
      <p:sp>
        <p:nvSpPr>
          <p:cNvPr id="167" name="TextBox 166">
            <a:extLst>
              <a:ext uri="{FF2B5EF4-FFF2-40B4-BE49-F238E27FC236}">
                <a16:creationId xmlns:a16="http://schemas.microsoft.com/office/drawing/2014/main" id="{582EB834-F45A-4DC6-9ACE-C98E7E6B6CD1}"/>
              </a:ext>
            </a:extLst>
          </p:cNvPr>
          <p:cNvSpPr txBox="1"/>
          <p:nvPr/>
        </p:nvSpPr>
        <p:spPr>
          <a:xfrm>
            <a:off x="7654627" y="1926942"/>
            <a:ext cx="1221068" cy="861774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Arbeid med</a:t>
            </a:r>
            <a:br>
              <a:rPr lang="nb-NO" sz="1200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1200" b="1">
                <a:solidFill>
                  <a:srgbClr val="000000"/>
                </a:solidFill>
                <a:latin typeface="Arial" panose="020B0604020202020204"/>
              </a:rPr>
              <a:t>Økonomimodell</a:t>
            </a:r>
            <a:br>
              <a:rPr lang="nb-NO" sz="1200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Uke 6-9</a:t>
            </a:r>
          </a:p>
        </p:txBody>
      </p:sp>
      <p:sp>
        <p:nvSpPr>
          <p:cNvPr id="169" name="Oval 168">
            <a:extLst>
              <a:ext uri="{FF2B5EF4-FFF2-40B4-BE49-F238E27FC236}">
                <a16:creationId xmlns:a16="http://schemas.microsoft.com/office/drawing/2014/main" id="{93FCA21B-7379-4907-8341-4B5B3928A6C1}"/>
              </a:ext>
            </a:extLst>
          </p:cNvPr>
          <p:cNvSpPr/>
          <p:nvPr/>
        </p:nvSpPr>
        <p:spPr>
          <a:xfrm>
            <a:off x="8060432" y="1362367"/>
            <a:ext cx="550120" cy="550120"/>
          </a:xfrm>
          <a:prstGeom prst="ellipse">
            <a:avLst/>
          </a:prstGeom>
          <a:solidFill>
            <a:srgbClr val="8D9C1B"/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171" name="Graphic 170" descr="Run">
            <a:extLst>
              <a:ext uri="{FF2B5EF4-FFF2-40B4-BE49-F238E27FC236}">
                <a16:creationId xmlns:a16="http://schemas.microsoft.com/office/drawing/2014/main" id="{465DD31F-9C85-4F25-8D83-F0A4035DFEC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117346" y="1442904"/>
            <a:ext cx="407095" cy="407095"/>
          </a:xfrm>
          <a:prstGeom prst="rect">
            <a:avLst/>
          </a:prstGeom>
        </p:spPr>
      </p:pic>
      <p:pic>
        <p:nvPicPr>
          <p:cNvPr id="172" name="Graphic 171" descr="Run">
            <a:extLst>
              <a:ext uri="{FF2B5EF4-FFF2-40B4-BE49-F238E27FC236}">
                <a16:creationId xmlns:a16="http://schemas.microsoft.com/office/drawing/2014/main" id="{44216856-E0E7-4ABF-9FAF-F0586A76A152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flipH="1">
            <a:off x="6284289" y="3436174"/>
            <a:ext cx="388139" cy="407095"/>
          </a:xfrm>
          <a:prstGeom prst="rect">
            <a:avLst/>
          </a:prstGeom>
        </p:spPr>
      </p:pic>
      <p:pic>
        <p:nvPicPr>
          <p:cNvPr id="173" name="Graphic 172" descr="Run">
            <a:extLst>
              <a:ext uri="{FF2B5EF4-FFF2-40B4-BE49-F238E27FC236}">
                <a16:creationId xmlns:a16="http://schemas.microsoft.com/office/drawing/2014/main" id="{829E83AF-E147-465D-BD26-012E6AAC3E9A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flipH="1">
            <a:off x="4441549" y="3987256"/>
            <a:ext cx="388139" cy="407095"/>
          </a:xfrm>
          <a:prstGeom prst="rect">
            <a:avLst/>
          </a:prstGeom>
        </p:spPr>
      </p:pic>
      <p:sp>
        <p:nvSpPr>
          <p:cNvPr id="174" name="AutoShape 42">
            <a:extLst>
              <a:ext uri="{FF2B5EF4-FFF2-40B4-BE49-F238E27FC236}">
                <a16:creationId xmlns:a16="http://schemas.microsoft.com/office/drawing/2014/main" id="{7A192D7E-1979-4B28-A947-DA1E4E01687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117346" y="2804115"/>
            <a:ext cx="388140" cy="388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85"/>
            <a:endParaRPr lang="nb-NO" sz="933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0B1F937C-984D-431A-B1C2-347E0986EBC9}"/>
              </a:ext>
            </a:extLst>
          </p:cNvPr>
          <p:cNvSpPr/>
          <p:nvPr/>
        </p:nvSpPr>
        <p:spPr>
          <a:xfrm>
            <a:off x="8009855" y="2932321"/>
            <a:ext cx="550120" cy="550120"/>
          </a:xfrm>
          <a:prstGeom prst="ellipse">
            <a:avLst/>
          </a:prstGeom>
          <a:solidFill>
            <a:srgbClr val="8D9C1B"/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176" name="Graphic 175" descr="Run">
            <a:extLst>
              <a:ext uri="{FF2B5EF4-FFF2-40B4-BE49-F238E27FC236}">
                <a16:creationId xmlns:a16="http://schemas.microsoft.com/office/drawing/2014/main" id="{F8C4EAC9-EB59-468E-9455-08B3A6651374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 flipH="1">
            <a:off x="8107184" y="2996779"/>
            <a:ext cx="388139" cy="407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01491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" name="Group 68">
            <a:extLst>
              <a:ext uri="{FF2B5EF4-FFF2-40B4-BE49-F238E27FC236}">
                <a16:creationId xmlns:a16="http://schemas.microsoft.com/office/drawing/2014/main" id="{B1FBD108-B526-4007-AA35-19A7BBF7A9B3}"/>
              </a:ext>
            </a:extLst>
          </p:cNvPr>
          <p:cNvGrpSpPr/>
          <p:nvPr/>
        </p:nvGrpSpPr>
        <p:grpSpPr>
          <a:xfrm>
            <a:off x="1428751" y="666628"/>
            <a:ext cx="9639118" cy="5959201"/>
            <a:chOff x="2510676" y="1203174"/>
            <a:chExt cx="7627452" cy="4715526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360493BD-5B08-41DB-8385-204D7C2919BA}"/>
                </a:ext>
              </a:extLst>
            </p:cNvPr>
            <p:cNvSpPr txBox="1"/>
            <p:nvPr/>
          </p:nvSpPr>
          <p:spPr>
            <a:xfrm>
              <a:off x="3775944" y="5319937"/>
              <a:ext cx="2529852" cy="59876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200" b="1">
                  <a:latin typeface="Arial" panose="020B0604020202020204"/>
                </a:rPr>
                <a:t>Uke 10-12</a:t>
              </a:r>
            </a:p>
            <a:p>
              <a:pPr algn="ctr" defTabSz="685783">
                <a:defRPr/>
              </a:pPr>
              <a:r>
                <a:rPr lang="nb-NO" sz="1200"/>
                <a:t>Gap-analyse </a:t>
              </a:r>
            </a:p>
            <a:p>
              <a:pPr algn="ctr" defTabSz="685783">
                <a:defRPr/>
              </a:pPr>
              <a:r>
                <a:rPr lang="nb-NO" sz="1200"/>
                <a:t>nye prosesser</a:t>
              </a:r>
            </a:p>
            <a:p>
              <a:pPr algn="ctr" defTabSz="685783">
                <a:defRPr/>
              </a:pPr>
              <a:r>
                <a:rPr lang="nb-NO" sz="1200"/>
                <a:t>Uke 8 -13</a:t>
              </a:r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EA644078-8EB2-4B90-AD91-8FDC9136AA24}"/>
                </a:ext>
              </a:extLst>
            </p:cNvPr>
            <p:cNvGrpSpPr/>
            <p:nvPr/>
          </p:nvGrpSpPr>
          <p:grpSpPr>
            <a:xfrm>
              <a:off x="2510676" y="1203174"/>
              <a:ext cx="7627452" cy="4097706"/>
              <a:chOff x="1881568" y="998349"/>
              <a:chExt cx="7627452" cy="4097706"/>
            </a:xfrm>
          </p:grpSpPr>
          <mc:AlternateContent xmlns:mc="http://schemas.openxmlformats.org/markup-compatibility/2006">
            <mc:Choice xmlns:p14="http://schemas.microsoft.com/office/powerpoint/2010/main" Requires="p14">
              <p:contentPart p14:bwMode="auto" r:id="rId2">
                <p14:nvContentPartPr>
                  <p14:cNvPr id="3" name="Ink 2">
                    <a:extLst>
                      <a:ext uri="{FF2B5EF4-FFF2-40B4-BE49-F238E27FC236}">
                        <a16:creationId xmlns:a16="http://schemas.microsoft.com/office/drawing/2014/main" id="{E0CB4A9E-3330-4F99-8946-A8179BB28F12}"/>
                      </a:ext>
                    </a:extLst>
                  </p14:cNvPr>
                  <p14:cNvContentPartPr/>
                  <p14:nvPr/>
                </p14:nvContentPartPr>
                <p14:xfrm>
                  <a:off x="2655997" y="1256264"/>
                  <a:ext cx="5901950" cy="3634504"/>
                </p14:xfrm>
              </p:contentPart>
            </mc:Choice>
            <mc:Fallback>
              <p:pic>
                <p:nvPicPr>
                  <p:cNvPr id="3" name="Ink 2">
                    <a:extLst>
                      <a:ext uri="{FF2B5EF4-FFF2-40B4-BE49-F238E27FC236}">
                        <a16:creationId xmlns:a16="http://schemas.microsoft.com/office/drawing/2014/main" id="{E0CB4A9E-3330-4F99-8946-A8179BB28F12}"/>
                      </a:ext>
                    </a:extLst>
                  </p:cNvPr>
                  <p:cNvPicPr/>
                  <p:nvPr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2625804" y="1226067"/>
                    <a:ext cx="5962052" cy="3694614"/>
                  </a:xfrm>
                  <a:prstGeom prst="rect">
                    <a:avLst/>
                  </a:prstGeom>
                </p:spPr>
              </p:pic>
            </mc:Fallback>
          </mc:AlternateContent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2B89CE2E-59A5-4B0B-947F-99755BD3D99C}"/>
                  </a:ext>
                </a:extLst>
              </p:cNvPr>
              <p:cNvSpPr txBox="1"/>
              <p:nvPr/>
            </p:nvSpPr>
            <p:spPr>
              <a:xfrm>
                <a:off x="1881568" y="2375063"/>
                <a:ext cx="1327753" cy="80369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algn="ctr" defTabSz="685783">
                  <a:defRPr/>
                </a:pPr>
                <a:r>
                  <a:rPr lang="nb-NO" sz="1200">
                    <a:latin typeface="Arial" panose="020B0604020202020204"/>
                  </a:rPr>
                  <a:t>Forrige steg:</a:t>
                </a:r>
              </a:p>
              <a:p>
                <a:pPr algn="ctr" defTabSz="685783">
                  <a:defRPr/>
                </a:pPr>
                <a:r>
                  <a:rPr lang="nb-NO" sz="1200" b="1">
                    <a:latin typeface="Arial" panose="020B0604020202020204"/>
                  </a:rPr>
                  <a:t>Uke 9</a:t>
                </a:r>
              </a:p>
              <a:p>
                <a:pPr algn="ctr" defTabSz="685783">
                  <a:defRPr/>
                </a:pPr>
                <a:r>
                  <a:rPr lang="nb-NO" sz="1200">
                    <a:latin typeface="Arial" panose="020B0604020202020204"/>
                  </a:rPr>
                  <a:t>Design sprint</a:t>
                </a:r>
              </a:p>
              <a:p>
                <a:pPr algn="ctr" defTabSz="685783">
                  <a:defRPr/>
                </a:pPr>
                <a:r>
                  <a:rPr lang="nb-NO" sz="1200">
                    <a:latin typeface="Arial" panose="020B0604020202020204"/>
                  </a:rPr>
                  <a:t>Lønn og lønnsnær HR </a:t>
                </a:r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4605F0C9-F786-4E0D-B2F5-E000BD47E200}"/>
                  </a:ext>
                </a:extLst>
              </p:cNvPr>
              <p:cNvSpPr txBox="1"/>
              <p:nvPr/>
            </p:nvSpPr>
            <p:spPr>
              <a:xfrm>
                <a:off x="7433067" y="4183704"/>
                <a:ext cx="2075953" cy="65756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algn="ctr" defTabSz="685783">
                  <a:defRPr/>
                </a:pPr>
                <a:r>
                  <a:rPr lang="nb-NO" sz="1200" b="1">
                    <a:latin typeface="Arial" panose="020B0604020202020204"/>
                  </a:rPr>
                  <a:t>Uke 12</a:t>
                </a:r>
              </a:p>
              <a:p>
                <a:pPr algn="ctr" defTabSz="685783">
                  <a:defRPr/>
                </a:pPr>
                <a:r>
                  <a:rPr lang="nb-NO" sz="1200">
                    <a:latin typeface="Arial" panose="020B0604020202020204"/>
                  </a:rPr>
                  <a:t>Ferdigstille lokal </a:t>
                </a:r>
              </a:p>
              <a:p>
                <a:pPr algn="ctr" defTabSz="685783">
                  <a:defRPr/>
                </a:pPr>
                <a:r>
                  <a:rPr lang="nb-NO" sz="1200">
                    <a:latin typeface="Arial" panose="020B0604020202020204"/>
                  </a:rPr>
                  <a:t>gap-analyse for</a:t>
                </a:r>
              </a:p>
              <a:p>
                <a:pPr algn="ctr" defTabSz="685783">
                  <a:defRPr/>
                </a:pPr>
                <a:r>
                  <a:rPr lang="nb-NO" sz="1200"/>
                  <a:t> Lønn og lønnsnær HR </a:t>
                </a:r>
                <a:endParaRPr lang="nb-NO" sz="1200">
                  <a:latin typeface="Arial" panose="020B0604020202020204"/>
                </a:endParaRP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739D0E2A-6868-4B93-9FAA-4DC036FF8000}"/>
                  </a:ext>
                </a:extLst>
              </p:cNvPr>
              <p:cNvSpPr txBox="1"/>
              <p:nvPr/>
            </p:nvSpPr>
            <p:spPr>
              <a:xfrm>
                <a:off x="3558242" y="1693794"/>
                <a:ext cx="2382440" cy="109594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algn="ctr" defTabSz="685783">
                  <a:defRPr/>
                </a:pPr>
                <a:r>
                  <a:rPr lang="nb-NO" sz="1200" b="1">
                    <a:latin typeface="Arial" panose="020B0604020202020204"/>
                  </a:rPr>
                  <a:t>Uke 10</a:t>
                </a:r>
              </a:p>
              <a:p>
                <a:pPr algn="ctr" defTabSz="685783">
                  <a:defRPr/>
                </a:pPr>
                <a:r>
                  <a:rPr lang="nb-NO" sz="1200">
                    <a:latin typeface="Arial" panose="020B0604020202020204"/>
                  </a:rPr>
                  <a:t>Felles allmøte for interessenter med presentasjon av løsningsforslag og informasjon om høringsrunde</a:t>
                </a:r>
              </a:p>
              <a:p>
                <a:pPr algn="ctr" defTabSz="685783">
                  <a:defRPr/>
                </a:pPr>
                <a:r>
                  <a:rPr lang="nb-NO" sz="1200" b="1">
                    <a:latin typeface="Arial" panose="020B0604020202020204"/>
                  </a:rPr>
                  <a:t>Ansvarlig: prosessansvarlig Lønn og lønnsnær HR og en utpekt fagansvarlig</a:t>
                </a: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1523332D-D498-4EA0-BB25-BB04694DDEDE}"/>
                  </a:ext>
                </a:extLst>
              </p:cNvPr>
              <p:cNvSpPr txBox="1"/>
              <p:nvPr/>
            </p:nvSpPr>
            <p:spPr>
              <a:xfrm>
                <a:off x="6096000" y="2622893"/>
                <a:ext cx="2075952" cy="80369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algn="ctr" defTabSz="685783">
                  <a:defRPr/>
                </a:pPr>
                <a:r>
                  <a:rPr lang="nb-NO" sz="1200" b="1">
                    <a:latin typeface="Arial" panose="020B0604020202020204"/>
                  </a:rPr>
                  <a:t>Uke 10-12</a:t>
                </a:r>
              </a:p>
              <a:p>
                <a:pPr algn="ctr" defTabSz="685783">
                  <a:defRPr/>
                </a:pPr>
                <a:r>
                  <a:rPr lang="nb-NO" sz="1200">
                    <a:latin typeface="Arial" panose="020B0604020202020204"/>
                  </a:rPr>
                  <a:t>Høringsrunde </a:t>
                </a:r>
              </a:p>
              <a:p>
                <a:pPr algn="ctr" defTabSz="685783">
                  <a:defRPr/>
                </a:pPr>
                <a:r>
                  <a:rPr lang="nb-NO" sz="1200">
                    <a:latin typeface="Arial" panose="020B0604020202020204"/>
                  </a:rPr>
                  <a:t>på løsningsforslag  Lønn og lønnsnær HR </a:t>
                </a:r>
              </a:p>
              <a:p>
                <a:pPr algn="ctr" defTabSz="685783">
                  <a:defRPr/>
                </a:pPr>
                <a:endParaRPr lang="nb-NO" sz="1200">
                  <a:latin typeface="Arial" panose="020B0604020202020204"/>
                </a:endParaRP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8148026B-086B-4684-8413-12455BAAB669}"/>
                  </a:ext>
                </a:extLst>
              </p:cNvPr>
              <p:cNvSpPr txBox="1"/>
              <p:nvPr/>
            </p:nvSpPr>
            <p:spPr>
              <a:xfrm>
                <a:off x="4112670" y="3430756"/>
                <a:ext cx="2529852" cy="65756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algn="ctr" defTabSz="685783">
                  <a:defRPr/>
                </a:pPr>
                <a:r>
                  <a:rPr lang="nb-NO" sz="1200" b="1">
                    <a:latin typeface="Arial" panose="020B0604020202020204"/>
                  </a:rPr>
                  <a:t>Uke 10-12</a:t>
                </a:r>
              </a:p>
              <a:p>
                <a:pPr algn="ctr" defTabSz="685783">
                  <a:defRPr/>
                </a:pPr>
                <a:r>
                  <a:rPr lang="nb-NO" sz="1200">
                    <a:latin typeface="Arial" panose="020B0604020202020204"/>
                  </a:rPr>
                  <a:t>Ev. lokale forankringsaktiviteter</a:t>
                </a:r>
              </a:p>
              <a:p>
                <a:pPr algn="ctr" defTabSz="685783">
                  <a:defRPr/>
                </a:pPr>
                <a:r>
                  <a:rPr lang="nb-NO" sz="1200">
                    <a:latin typeface="Arial" panose="020B0604020202020204"/>
                  </a:rPr>
                  <a:t>Lønn og lønnsnær HR </a:t>
                </a:r>
              </a:p>
              <a:p>
                <a:pPr algn="ctr" defTabSz="685783">
                  <a:defRPr/>
                </a:pPr>
                <a:r>
                  <a:rPr lang="nb-NO" sz="1200">
                    <a:latin typeface="Arial" panose="020B0604020202020204"/>
                  </a:rPr>
                  <a:t> i hht. lokal interessentanalyse.</a:t>
                </a:r>
              </a:p>
            </p:txBody>
          </p: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700A069C-37EA-41E9-BA39-13A60DFC5A73}"/>
                  </a:ext>
                </a:extLst>
              </p:cNvPr>
              <p:cNvGrpSpPr/>
              <p:nvPr/>
            </p:nvGrpSpPr>
            <p:grpSpPr>
              <a:xfrm>
                <a:off x="4112670" y="4509824"/>
                <a:ext cx="598184" cy="586231"/>
                <a:chOff x="3387259" y="1909512"/>
                <a:chExt cx="432000" cy="432000"/>
              </a:xfrm>
            </p:grpSpPr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0F435E11-B320-45CF-840D-C68A218CF29B}"/>
                    </a:ext>
                  </a:extLst>
                </p:cNvPr>
                <p:cNvSpPr/>
                <p:nvPr/>
              </p:nvSpPr>
              <p:spPr>
                <a:xfrm>
                  <a:off x="3387259" y="1909512"/>
                  <a:ext cx="432000" cy="432000"/>
                </a:xfrm>
                <a:prstGeom prst="ellipse">
                  <a:avLst/>
                </a:prstGeom>
                <a:solidFill>
                  <a:srgbClr val="8D9C1B"/>
                </a:solidFill>
                <a:ln w="28575">
                  <a:solidFill>
                    <a:schemeClr val="bg1"/>
                  </a:solidFill>
                </a:ln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783">
                    <a:defRPr/>
                  </a:pPr>
                  <a:endParaRPr lang="nb-NO" sz="120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pic>
              <p:nvPicPr>
                <p:cNvPr id="23" name="Graphic 22" descr="Group brainstorm">
                  <a:extLst>
                    <a:ext uri="{FF2B5EF4-FFF2-40B4-BE49-F238E27FC236}">
                      <a16:creationId xmlns:a16="http://schemas.microsoft.com/office/drawing/2014/main" id="{FBE6AABD-7B25-4C76-8A0F-4E7EF80FE06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441259" y="1963512"/>
                  <a:ext cx="324000" cy="324000"/>
                </a:xfrm>
                <a:prstGeom prst="rect">
                  <a:avLst/>
                </a:prstGeom>
              </p:spPr>
            </p:pic>
          </p:grp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7B516892-40BE-4EBA-8185-F3B7B2F50DD4}"/>
                  </a:ext>
                </a:extLst>
              </p:cNvPr>
              <p:cNvGrpSpPr/>
              <p:nvPr/>
            </p:nvGrpSpPr>
            <p:grpSpPr>
              <a:xfrm>
                <a:off x="5036422" y="2735311"/>
                <a:ext cx="598184" cy="586231"/>
                <a:chOff x="3387259" y="1909512"/>
                <a:chExt cx="432000" cy="432000"/>
              </a:xfrm>
            </p:grpSpPr>
            <p:sp>
              <p:nvSpPr>
                <p:cNvPr id="25" name="Oval 24">
                  <a:extLst>
                    <a:ext uri="{FF2B5EF4-FFF2-40B4-BE49-F238E27FC236}">
                      <a16:creationId xmlns:a16="http://schemas.microsoft.com/office/drawing/2014/main" id="{EB905521-D49D-4118-A6D3-6C200E54368D}"/>
                    </a:ext>
                  </a:extLst>
                </p:cNvPr>
                <p:cNvSpPr/>
                <p:nvPr/>
              </p:nvSpPr>
              <p:spPr>
                <a:xfrm>
                  <a:off x="3387259" y="1909512"/>
                  <a:ext cx="432000" cy="432000"/>
                </a:xfrm>
                <a:prstGeom prst="ellipse">
                  <a:avLst/>
                </a:prstGeom>
                <a:solidFill>
                  <a:srgbClr val="8D9C1B"/>
                </a:solidFill>
                <a:ln w="28575">
                  <a:solidFill>
                    <a:schemeClr val="bg1"/>
                  </a:solidFill>
                </a:ln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783">
                    <a:defRPr/>
                  </a:pPr>
                  <a:endParaRPr lang="nb-NO" sz="120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pic>
              <p:nvPicPr>
                <p:cNvPr id="26" name="Graphic 25" descr="Group brainstorm">
                  <a:extLst>
                    <a:ext uri="{FF2B5EF4-FFF2-40B4-BE49-F238E27FC236}">
                      <a16:creationId xmlns:a16="http://schemas.microsoft.com/office/drawing/2014/main" id="{981C580B-C107-4A52-B361-3B1123C0E31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441259" y="1963512"/>
                  <a:ext cx="324000" cy="324000"/>
                </a:xfrm>
                <a:prstGeom prst="rect">
                  <a:avLst/>
                </a:prstGeom>
              </p:spPr>
            </p:pic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8409E323-0CE9-4D42-8C29-CDC10E359F4C}"/>
                  </a:ext>
                </a:extLst>
              </p:cNvPr>
              <p:cNvGrpSpPr/>
              <p:nvPr/>
            </p:nvGrpSpPr>
            <p:grpSpPr>
              <a:xfrm>
                <a:off x="6842927" y="1915329"/>
                <a:ext cx="598184" cy="586231"/>
                <a:chOff x="3387259" y="1909512"/>
                <a:chExt cx="432000" cy="432000"/>
              </a:xfrm>
            </p:grpSpPr>
            <p:sp>
              <p:nvSpPr>
                <p:cNvPr id="28" name="Oval 27">
                  <a:extLst>
                    <a:ext uri="{FF2B5EF4-FFF2-40B4-BE49-F238E27FC236}">
                      <a16:creationId xmlns:a16="http://schemas.microsoft.com/office/drawing/2014/main" id="{857C91FD-6A38-4655-904B-381F1A49BBB5}"/>
                    </a:ext>
                  </a:extLst>
                </p:cNvPr>
                <p:cNvSpPr/>
                <p:nvPr/>
              </p:nvSpPr>
              <p:spPr>
                <a:xfrm>
                  <a:off x="3387259" y="1909512"/>
                  <a:ext cx="432000" cy="432000"/>
                </a:xfrm>
                <a:prstGeom prst="ellipse">
                  <a:avLst/>
                </a:prstGeom>
                <a:solidFill>
                  <a:srgbClr val="8D9C1B"/>
                </a:solidFill>
                <a:ln w="28575">
                  <a:solidFill>
                    <a:schemeClr val="bg1"/>
                  </a:solidFill>
                </a:ln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783">
                    <a:defRPr/>
                  </a:pPr>
                  <a:endParaRPr lang="nb-NO" sz="120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pic>
              <p:nvPicPr>
                <p:cNvPr id="29" name="Graphic 28" descr="Group brainstorm">
                  <a:extLst>
                    <a:ext uri="{FF2B5EF4-FFF2-40B4-BE49-F238E27FC236}">
                      <a16:creationId xmlns:a16="http://schemas.microsoft.com/office/drawing/2014/main" id="{EF3ABDCB-7D7F-4499-AB22-B79D71A5EC7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441259" y="1963512"/>
                  <a:ext cx="324000" cy="324000"/>
                </a:xfrm>
                <a:prstGeom prst="rect">
                  <a:avLst/>
                </a:prstGeom>
              </p:spPr>
            </p:pic>
          </p:grpSp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8631EA28-8DE3-4C3D-A60D-BDC561110314}"/>
                  </a:ext>
                </a:extLst>
              </p:cNvPr>
              <p:cNvGrpSpPr/>
              <p:nvPr/>
            </p:nvGrpSpPr>
            <p:grpSpPr>
              <a:xfrm>
                <a:off x="4513011" y="998349"/>
                <a:ext cx="598184" cy="586231"/>
                <a:chOff x="3387259" y="1909512"/>
                <a:chExt cx="432000" cy="432000"/>
              </a:xfrm>
            </p:grpSpPr>
            <p:sp>
              <p:nvSpPr>
                <p:cNvPr id="31" name="Oval 30">
                  <a:extLst>
                    <a:ext uri="{FF2B5EF4-FFF2-40B4-BE49-F238E27FC236}">
                      <a16:creationId xmlns:a16="http://schemas.microsoft.com/office/drawing/2014/main" id="{0C8CB8F7-C9F7-417A-95B6-5568E51DBF3A}"/>
                    </a:ext>
                  </a:extLst>
                </p:cNvPr>
                <p:cNvSpPr/>
                <p:nvPr/>
              </p:nvSpPr>
              <p:spPr>
                <a:xfrm>
                  <a:off x="3387259" y="1909512"/>
                  <a:ext cx="432000" cy="432000"/>
                </a:xfrm>
                <a:prstGeom prst="ellipse">
                  <a:avLst/>
                </a:prstGeom>
                <a:solidFill>
                  <a:srgbClr val="8D9C1B"/>
                </a:solidFill>
                <a:ln w="28575">
                  <a:solidFill>
                    <a:schemeClr val="bg1"/>
                  </a:solidFill>
                </a:ln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783">
                    <a:defRPr/>
                  </a:pPr>
                  <a:endParaRPr lang="nb-NO" sz="120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pic>
              <p:nvPicPr>
                <p:cNvPr id="32" name="Graphic 31" descr="Group brainstorm">
                  <a:extLst>
                    <a:ext uri="{FF2B5EF4-FFF2-40B4-BE49-F238E27FC236}">
                      <a16:creationId xmlns:a16="http://schemas.microsoft.com/office/drawing/2014/main" id="{F8E5FE0D-319D-4DE0-9886-5F1F5C65DFB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441259" y="1963512"/>
                  <a:ext cx="324000" cy="324000"/>
                </a:xfrm>
                <a:prstGeom prst="rect">
                  <a:avLst/>
                </a:prstGeom>
              </p:spPr>
            </p:pic>
          </p:grp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57F8AC77-ED7B-48B7-A7F9-E34E903C23A5}"/>
                  </a:ext>
                </a:extLst>
              </p:cNvPr>
              <p:cNvGrpSpPr/>
              <p:nvPr/>
            </p:nvGrpSpPr>
            <p:grpSpPr>
              <a:xfrm>
                <a:off x="8171952" y="3502598"/>
                <a:ext cx="598184" cy="586231"/>
                <a:chOff x="3387259" y="1909512"/>
                <a:chExt cx="432000" cy="432000"/>
              </a:xfrm>
            </p:grpSpPr>
            <p:sp>
              <p:nvSpPr>
                <p:cNvPr id="34" name="Oval 33">
                  <a:extLst>
                    <a:ext uri="{FF2B5EF4-FFF2-40B4-BE49-F238E27FC236}">
                      <a16:creationId xmlns:a16="http://schemas.microsoft.com/office/drawing/2014/main" id="{990B279C-ABD2-4978-ACB6-DAA099F62B06}"/>
                    </a:ext>
                  </a:extLst>
                </p:cNvPr>
                <p:cNvSpPr/>
                <p:nvPr/>
              </p:nvSpPr>
              <p:spPr>
                <a:xfrm>
                  <a:off x="3387259" y="1909512"/>
                  <a:ext cx="432000" cy="432000"/>
                </a:xfrm>
                <a:prstGeom prst="ellipse">
                  <a:avLst/>
                </a:prstGeom>
                <a:solidFill>
                  <a:srgbClr val="8D9C1B"/>
                </a:solidFill>
                <a:ln w="28575">
                  <a:solidFill>
                    <a:schemeClr val="bg1"/>
                  </a:solidFill>
                </a:ln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685783">
                    <a:defRPr/>
                  </a:pPr>
                  <a:endParaRPr lang="nb-NO" sz="120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pic>
              <p:nvPicPr>
                <p:cNvPr id="35" name="Graphic 34" descr="Group brainstorm">
                  <a:extLst>
                    <a:ext uri="{FF2B5EF4-FFF2-40B4-BE49-F238E27FC236}">
                      <a16:creationId xmlns:a16="http://schemas.microsoft.com/office/drawing/2014/main" id="{D2E22CB8-D0A8-4CCE-BF49-5C965FB3075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441259" y="1963512"/>
                  <a:ext cx="324000" cy="324000"/>
                </a:xfrm>
                <a:prstGeom prst="rect">
                  <a:avLst/>
                </a:prstGeom>
              </p:spPr>
            </p:pic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4E8BD6B9-740A-42DE-9897-0F9962ECE85A}"/>
                  </a:ext>
                </a:extLst>
              </p:cNvPr>
              <p:cNvGrpSpPr/>
              <p:nvPr/>
            </p:nvGrpSpPr>
            <p:grpSpPr>
              <a:xfrm>
                <a:off x="2248609" y="1693794"/>
                <a:ext cx="550120" cy="550120"/>
                <a:chOff x="8060432" y="1362367"/>
                <a:chExt cx="550120" cy="550120"/>
              </a:xfrm>
            </p:grpSpPr>
            <p:sp>
              <p:nvSpPr>
                <p:cNvPr id="37" name="Oval 36">
                  <a:extLst>
                    <a:ext uri="{FF2B5EF4-FFF2-40B4-BE49-F238E27FC236}">
                      <a16:creationId xmlns:a16="http://schemas.microsoft.com/office/drawing/2014/main" id="{A5695732-8BE7-433C-92E2-B19B6BFD270C}"/>
                    </a:ext>
                  </a:extLst>
                </p:cNvPr>
                <p:cNvSpPr/>
                <p:nvPr/>
              </p:nvSpPr>
              <p:spPr>
                <a:xfrm>
                  <a:off x="8060432" y="1362367"/>
                  <a:ext cx="550120" cy="550120"/>
                </a:xfrm>
                <a:prstGeom prst="ellipse">
                  <a:avLst/>
                </a:prstGeom>
                <a:solidFill>
                  <a:srgbClr val="8D9C1B"/>
                </a:solidFill>
                <a:ln w="28575">
                  <a:solidFill>
                    <a:schemeClr val="bg1"/>
                  </a:solidFill>
                </a:ln>
                <a:effectLst>
                  <a:outerShdw blurRad="114300" dist="12700" dir="5400000" rotWithShape="0">
                    <a:srgbClr val="000000">
                      <a:alpha val="35000"/>
                    </a:srgbClr>
                  </a:outerShdw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354">
                    <a:defRPr/>
                  </a:pPr>
                  <a:endParaRPr lang="nb-NO" sz="160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pic>
              <p:nvPicPr>
                <p:cNvPr id="38" name="Graphic 37" descr="Run">
                  <a:extLst>
                    <a:ext uri="{FF2B5EF4-FFF2-40B4-BE49-F238E27FC236}">
                      <a16:creationId xmlns:a16="http://schemas.microsoft.com/office/drawing/2014/main" id="{F6EB326F-BB67-4D44-8B03-05FDC9E78B9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117346" y="1442904"/>
                  <a:ext cx="407095" cy="407095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45" name="Tittel 1">
            <a:extLst>
              <a:ext uri="{FF2B5EF4-FFF2-40B4-BE49-F238E27FC236}">
                <a16:creationId xmlns:a16="http://schemas.microsoft.com/office/drawing/2014/main" id="{20A9EDF1-8826-4E9F-8FBA-B01F7478B210}"/>
              </a:ext>
            </a:extLst>
          </p:cNvPr>
          <p:cNvSpPr txBox="1">
            <a:spLocks/>
          </p:cNvSpPr>
          <p:nvPr/>
        </p:nvSpPr>
        <p:spPr>
          <a:xfrm>
            <a:off x="140238" y="81358"/>
            <a:ext cx="12051762" cy="504947"/>
          </a:xfrm>
          <a:prstGeom prst="rect">
            <a:avLst/>
          </a:prstGeom>
        </p:spPr>
        <p:txBody>
          <a:bodyPr vert="horz" wrap="square" lIns="90000" tIns="46800" rIns="90000" bIns="468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defTabSz="812760"/>
            <a:r>
              <a:rPr lang="nb-NO" sz="2667">
                <a:solidFill>
                  <a:srgbClr val="000000"/>
                </a:solidFill>
              </a:rPr>
              <a:t>Lokal forankring – løsningsforslag (eksempel Lønn og lønnsnær HR)</a:t>
            </a:r>
          </a:p>
        </p:txBody>
      </p:sp>
    </p:spTree>
    <p:extLst>
      <p:ext uri="{BB962C8B-B14F-4D97-AF65-F5344CB8AC3E}">
        <p14:creationId xmlns:p14="http://schemas.microsoft.com/office/powerpoint/2010/main" val="6972012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47F48C13-C94E-4E1B-9828-5A21645AC87D}"/>
              </a:ext>
            </a:extLst>
          </p:cNvPr>
          <p:cNvSpPr txBox="1">
            <a:spLocks/>
          </p:cNvSpPr>
          <p:nvPr/>
        </p:nvSpPr>
        <p:spPr>
          <a:xfrm>
            <a:off x="301385" y="298339"/>
            <a:ext cx="6452881" cy="463846"/>
          </a:xfrm>
          <a:prstGeom prst="rect">
            <a:avLst/>
          </a:prstGeom>
        </p:spPr>
        <p:txBody>
          <a:bodyPr/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2400"/>
              <a:t>Design Sprints</a:t>
            </a:r>
            <a:endParaRPr lang="nb-NO" sz="180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5DBB257-29F1-4F8F-847F-A0C13E8F75C5}"/>
              </a:ext>
            </a:extLst>
          </p:cNvPr>
          <p:cNvSpPr txBox="1">
            <a:spLocks/>
          </p:cNvSpPr>
          <p:nvPr/>
        </p:nvSpPr>
        <p:spPr>
          <a:xfrm>
            <a:off x="396634" y="758465"/>
            <a:ext cx="6357632" cy="36891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nb-NO" sz="1600"/>
              <a:t>Formål: utarbeide løsningsforslag til identifiserte </a:t>
            </a:r>
            <a:r>
              <a:rPr lang="nb-NO" sz="1600">
                <a:solidFill>
                  <a:schemeClr val="tx1">
                    <a:lumMod val="75000"/>
                    <a:lumOff val="25000"/>
                  </a:schemeClr>
                </a:solidFill>
              </a:rPr>
              <a:t>problemstillinger</a:t>
            </a:r>
          </a:p>
        </p:txBody>
      </p:sp>
      <p:graphicFrame>
        <p:nvGraphicFramePr>
          <p:cNvPr id="18" name="Table 19">
            <a:extLst>
              <a:ext uri="{FF2B5EF4-FFF2-40B4-BE49-F238E27FC236}">
                <a16:creationId xmlns:a16="http://schemas.microsoft.com/office/drawing/2014/main" id="{DFEE4284-E8AA-47E9-9AC9-0544BE08E7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0971158"/>
              </p:ext>
            </p:extLst>
          </p:nvPr>
        </p:nvGraphicFramePr>
        <p:xfrm>
          <a:off x="480716" y="1222311"/>
          <a:ext cx="11154385" cy="5581621"/>
        </p:xfrm>
        <a:graphic>
          <a:graphicData uri="http://schemas.openxmlformats.org/drawingml/2006/table">
            <a:tbl>
              <a:tblPr firstRow="1">
                <a:tableStyleId>{21E4AEA4-8DFA-4A89-87EB-49C32662AFE0}</a:tableStyleId>
              </a:tblPr>
              <a:tblGrid>
                <a:gridCol w="2230877">
                  <a:extLst>
                    <a:ext uri="{9D8B030D-6E8A-4147-A177-3AD203B41FA5}">
                      <a16:colId xmlns:a16="http://schemas.microsoft.com/office/drawing/2014/main" val="559768178"/>
                    </a:ext>
                  </a:extLst>
                </a:gridCol>
                <a:gridCol w="2230877">
                  <a:extLst>
                    <a:ext uri="{9D8B030D-6E8A-4147-A177-3AD203B41FA5}">
                      <a16:colId xmlns:a16="http://schemas.microsoft.com/office/drawing/2014/main" val="4062673064"/>
                    </a:ext>
                  </a:extLst>
                </a:gridCol>
                <a:gridCol w="2230877">
                  <a:extLst>
                    <a:ext uri="{9D8B030D-6E8A-4147-A177-3AD203B41FA5}">
                      <a16:colId xmlns:a16="http://schemas.microsoft.com/office/drawing/2014/main" val="1316617364"/>
                    </a:ext>
                  </a:extLst>
                </a:gridCol>
                <a:gridCol w="2230877">
                  <a:extLst>
                    <a:ext uri="{9D8B030D-6E8A-4147-A177-3AD203B41FA5}">
                      <a16:colId xmlns:a16="http://schemas.microsoft.com/office/drawing/2014/main" val="2476370768"/>
                    </a:ext>
                  </a:extLst>
                </a:gridCol>
                <a:gridCol w="2230877">
                  <a:extLst>
                    <a:ext uri="{9D8B030D-6E8A-4147-A177-3AD203B41FA5}">
                      <a16:colId xmlns:a16="http://schemas.microsoft.com/office/drawing/2014/main" val="1646304084"/>
                    </a:ext>
                  </a:extLst>
                </a:gridCol>
              </a:tblGrid>
              <a:tr h="357252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9494764"/>
                  </a:ext>
                </a:extLst>
              </a:tr>
              <a:tr h="1606971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9481140"/>
                  </a:ext>
                </a:extLst>
              </a:tr>
              <a:tr h="357252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 b="1">
                          <a:solidFill>
                            <a:schemeClr val="tx2"/>
                          </a:solidFill>
                        </a:rPr>
                        <a:t>Forståels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 b="1">
                          <a:solidFill>
                            <a:schemeClr val="tx2"/>
                          </a:solidFill>
                        </a:rPr>
                        <a:t>Hypotes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 b="1">
                          <a:solidFill>
                            <a:schemeClr val="tx2"/>
                          </a:solidFill>
                        </a:rPr>
                        <a:t>Tes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 b="1">
                          <a:solidFill>
                            <a:schemeClr val="tx2"/>
                          </a:solidFill>
                        </a:rPr>
                        <a:t>Bearbeide innspil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100" b="1">
                          <a:solidFill>
                            <a:schemeClr val="tx2"/>
                          </a:solidFill>
                        </a:rPr>
                        <a:t>Løsningsforslag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100347"/>
                  </a:ext>
                </a:extLst>
              </a:tr>
              <a:tr h="1630073"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600"/>
                        <a:t>Definerte problemstillinger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600"/>
                        <a:t>Intervju av relevante referansepersoner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nb-NO" sz="16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600"/>
                        <a:t>Konkrete løsningsforslag per problemstilling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600"/>
                        <a:t>Prioritere 2-3 forslag per problemstill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600"/>
                        <a:t>Presentere løsningsforslag for referans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600"/>
                        <a:t>Innspill fra operativ prosessei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600"/>
                        <a:t>Bearbeide innspill med Kjerneteamet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600"/>
                        <a:t>Ferdigstille løsningsforsla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600"/>
                        <a:t>Presentere løsningsforslag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600"/>
                        <a:t>OK fra operativ prosesseier</a:t>
                      </a:r>
                      <a:endParaRPr lang="nb-NO" sz="1600" b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8165501"/>
                  </a:ext>
                </a:extLst>
              </a:tr>
              <a:tr h="1630073"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600" b="0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jerneteam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Intervjuobjekter/</a:t>
                      </a:r>
                      <a:br>
                        <a:rPr lang="nb-NO" sz="1600" b="0">
                          <a:solidFill>
                            <a:schemeClr val="tx1"/>
                          </a:solidFill>
                        </a:rPr>
                      </a:b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fokusgrupper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600" b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Referanseteam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600" b="0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jerneteam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600" b="0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jern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600"/>
                        <a:t>Intervjuobjekter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600"/>
                        <a:t>Operativ prosesseier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Workshop med </a:t>
                      </a:r>
                      <a:r>
                        <a:rPr lang="nb-NO" sz="160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Referanseteam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600" b="0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jerneteam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600" b="0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jerneteam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600" b="0"/>
                        <a:t>Operativ prosessei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7966208"/>
                  </a:ext>
                </a:extLst>
              </a:tr>
            </a:tbl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5EEFB180-BD44-4751-9480-146FF0D04EF8}"/>
              </a:ext>
            </a:extLst>
          </p:cNvPr>
          <p:cNvGrpSpPr/>
          <p:nvPr/>
        </p:nvGrpSpPr>
        <p:grpSpPr>
          <a:xfrm>
            <a:off x="556900" y="1795942"/>
            <a:ext cx="10773249" cy="1482557"/>
            <a:chOff x="-389322" y="2070835"/>
            <a:chExt cx="9846530" cy="1301430"/>
          </a:xfrm>
        </p:grpSpPr>
        <p:pic>
          <p:nvPicPr>
            <p:cNvPr id="20" name="Picture 2" descr="How Google Design Sprint works - Product Management 101 ...">
              <a:hlinkClick r:id="rId2"/>
              <a:extLst>
                <a:ext uri="{FF2B5EF4-FFF2-40B4-BE49-F238E27FC236}">
                  <a16:creationId xmlns:a16="http://schemas.microsoft.com/office/drawing/2014/main" id="{E760B286-2E02-4004-8322-5CCF19042AE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55" t="18176" r="78810" b="42613"/>
            <a:stretch/>
          </p:blipFill>
          <p:spPr bwMode="auto">
            <a:xfrm>
              <a:off x="-389322" y="2070835"/>
              <a:ext cx="1652986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" descr="How Google Design Sprint works - Product Management 101 ...">
              <a:hlinkClick r:id="rId2"/>
              <a:extLst>
                <a:ext uri="{FF2B5EF4-FFF2-40B4-BE49-F238E27FC236}">
                  <a16:creationId xmlns:a16="http://schemas.microsoft.com/office/drawing/2014/main" id="{F6E211A6-6CA8-40C3-B362-49A35B5F362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251" t="18176" r="41616" b="42613"/>
            <a:stretch/>
          </p:blipFill>
          <p:spPr bwMode="auto">
            <a:xfrm>
              <a:off x="3821919" y="2070835"/>
              <a:ext cx="1488643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" descr="How Google Design Sprint works - Product Management 101 ...">
              <a:hlinkClick r:id="rId2"/>
              <a:extLst>
                <a:ext uri="{FF2B5EF4-FFF2-40B4-BE49-F238E27FC236}">
                  <a16:creationId xmlns:a16="http://schemas.microsoft.com/office/drawing/2014/main" id="{4A629F67-3E57-4725-A411-585B4E48596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241" t="18176" r="19975" b="42613"/>
            <a:stretch/>
          </p:blipFill>
          <p:spPr bwMode="auto">
            <a:xfrm>
              <a:off x="5722192" y="2070835"/>
              <a:ext cx="1706258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" descr="How Google Design Sprint works - Product Management 101 ...">
              <a:hlinkClick r:id="rId2"/>
              <a:extLst>
                <a:ext uri="{FF2B5EF4-FFF2-40B4-BE49-F238E27FC236}">
                  <a16:creationId xmlns:a16="http://schemas.microsoft.com/office/drawing/2014/main" id="{4F4B0431-A06E-4727-B2E9-3016B369186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983" t="18176" b="42613"/>
            <a:stretch/>
          </p:blipFill>
          <p:spPr bwMode="auto">
            <a:xfrm>
              <a:off x="7649733" y="2070835"/>
              <a:ext cx="1807475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" descr="How Google Design Sprint works - Product Management 101 ...">
              <a:hlinkClick r:id="rId2"/>
              <a:extLst>
                <a:ext uri="{FF2B5EF4-FFF2-40B4-BE49-F238E27FC236}">
                  <a16:creationId xmlns:a16="http://schemas.microsoft.com/office/drawing/2014/main" id="{1BEDF98D-D775-4D39-AEF5-8EA62DF6A62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916" t="18176" r="59667" b="42613"/>
            <a:stretch/>
          </p:blipFill>
          <p:spPr bwMode="auto">
            <a:xfrm>
              <a:off x="1730617" y="2070835"/>
              <a:ext cx="1594073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CE8D40CC-6DF6-42E2-A3EC-C37A9AABE627}"/>
              </a:ext>
            </a:extLst>
          </p:cNvPr>
          <p:cNvSpPr/>
          <p:nvPr/>
        </p:nvSpPr>
        <p:spPr>
          <a:xfrm rot="20869639">
            <a:off x="202745" y="5046271"/>
            <a:ext cx="555941" cy="15236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chemeClr val="tx1">
                    <a:lumMod val="75000"/>
                    <a:lumOff val="25000"/>
                  </a:schemeClr>
                </a:solidFill>
              </a:rPr>
              <a:t>Deltakere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6D127E93-8357-4D24-B91D-5B5386F4DEDB}"/>
              </a:ext>
            </a:extLst>
          </p:cNvPr>
          <p:cNvSpPr/>
          <p:nvPr/>
        </p:nvSpPr>
        <p:spPr>
          <a:xfrm rot="20973762">
            <a:off x="202132" y="3422529"/>
            <a:ext cx="555941" cy="15236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chemeClr val="tx1">
                    <a:lumMod val="75000"/>
                    <a:lumOff val="25000"/>
                  </a:schemeClr>
                </a:solidFill>
              </a:rPr>
              <a:t>Aktiviteter</a:t>
            </a:r>
          </a:p>
        </p:txBody>
      </p:sp>
    </p:spTree>
    <p:extLst>
      <p:ext uri="{BB962C8B-B14F-4D97-AF65-F5344CB8AC3E}">
        <p14:creationId xmlns:p14="http://schemas.microsoft.com/office/powerpoint/2010/main" val="30896388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A13C536-F72F-4A13-90BC-3B42727A1E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2298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A13C536-F72F-4A13-90BC-3B42727A1E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0994619-1E5B-426C-8740-802F6041C26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40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5A5C35D0-C66B-46F6-8988-7B2C1F1D40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006" y="274639"/>
            <a:ext cx="10972800" cy="707886"/>
          </a:xfrm>
        </p:spPr>
        <p:txBody>
          <a:bodyPr/>
          <a:lstStyle/>
          <a:p>
            <a:r>
              <a:rPr lang="nb-NO" sz="4000"/>
              <a:t>Etablering av ressursteam og </a:t>
            </a:r>
            <a:r>
              <a:rPr lang="nb-NO" sz="4000" err="1"/>
              <a:t>kjerneteam</a:t>
            </a:r>
            <a:endParaRPr lang="nb-NO" sz="4000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803E45CB-74AC-4927-9C9E-B91FA1502DB7}"/>
              </a:ext>
            </a:extLst>
          </p:cNvPr>
          <p:cNvSpPr/>
          <p:nvPr/>
        </p:nvSpPr>
        <p:spPr>
          <a:xfrm>
            <a:off x="411805" y="1105636"/>
            <a:ext cx="6217596" cy="550920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fontAlgn="ctr"/>
            <a:r>
              <a:rPr lang="nb-NO" sz="2000" b="1">
                <a:solidFill>
                  <a:schemeClr val="tx2"/>
                </a:solidFill>
              </a:rPr>
              <a:t>Etablere ressursteam og </a:t>
            </a:r>
            <a:r>
              <a:rPr lang="nb-NO" sz="2000" b="1" err="1">
                <a:solidFill>
                  <a:schemeClr val="tx2"/>
                </a:solidFill>
              </a:rPr>
              <a:t>kjerneteam</a:t>
            </a:r>
            <a:r>
              <a:rPr lang="nb-NO" sz="2000" b="1">
                <a:solidFill>
                  <a:schemeClr val="tx2"/>
                </a:solidFill>
              </a:rPr>
              <a:t> pr. prosess som faglig forankringsarena  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nb-NO">
                <a:solidFill>
                  <a:srgbClr val="000000"/>
                </a:solidFill>
              </a:rPr>
              <a:t>Økonomimodell</a:t>
            </a:r>
            <a:endParaRPr lang="nb-NO">
              <a:solidFill>
                <a:srgbClr val="000000"/>
              </a:solidFill>
              <a:cs typeface="Arial"/>
            </a:endParaRP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nb-NO">
                <a:solidFill>
                  <a:srgbClr val="000000"/>
                </a:solidFill>
              </a:rPr>
              <a:t>Behov til Betaling</a:t>
            </a:r>
            <a:endParaRPr lang="nb-NO">
              <a:solidFill>
                <a:srgbClr val="000000"/>
              </a:solidFill>
              <a:cs typeface="Arial"/>
            </a:endParaRP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nb-NO">
                <a:solidFill>
                  <a:srgbClr val="000000"/>
                </a:solidFill>
              </a:rPr>
              <a:t>Lønn- og lønnsnær HR</a:t>
            </a:r>
            <a:endParaRPr lang="nb-NO">
              <a:solidFill>
                <a:srgbClr val="000000"/>
              </a:solidFill>
              <a:cs typeface="Arial"/>
            </a:endParaRP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nb-NO">
                <a:solidFill>
                  <a:srgbClr val="000000"/>
                </a:solidFill>
              </a:rPr>
              <a:t>Prosjektøkonomi </a:t>
            </a:r>
            <a:endParaRPr lang="nb-NO">
              <a:solidFill>
                <a:srgbClr val="000000"/>
              </a:solidFill>
              <a:cs typeface="Arial"/>
            </a:endParaRP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endParaRPr lang="nb-NO">
              <a:solidFill>
                <a:srgbClr val="000000"/>
              </a:solidFill>
            </a:endParaRPr>
          </a:p>
          <a:p>
            <a:pPr lvl="0" fontAlgn="ctr"/>
            <a:r>
              <a:rPr lang="nb-NO" sz="2000" b="1">
                <a:solidFill>
                  <a:schemeClr val="tx2"/>
                </a:solidFill>
              </a:rPr>
              <a:t>Ressursteam bemannes fra </a:t>
            </a:r>
            <a:r>
              <a:rPr lang="nb-NO" sz="2000" b="1" err="1">
                <a:solidFill>
                  <a:schemeClr val="tx2"/>
                </a:solidFill>
              </a:rPr>
              <a:t>fellesadm</a:t>
            </a:r>
            <a:r>
              <a:rPr lang="nb-NO" sz="2000" b="1">
                <a:solidFill>
                  <a:schemeClr val="tx2"/>
                </a:solidFill>
              </a:rPr>
              <a:t> og fakultetene</a:t>
            </a:r>
            <a:endParaRPr lang="nb-NO" sz="2000" b="1">
              <a:solidFill>
                <a:schemeClr val="tx2"/>
              </a:solidFill>
              <a:cs typeface="Arial"/>
            </a:endParaRP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nb-NO">
                <a:solidFill>
                  <a:srgbClr val="000000"/>
                </a:solidFill>
              </a:rPr>
              <a:t>prosessansvarlig linjeleder/fagleder</a:t>
            </a:r>
            <a:endParaRPr lang="nb-NO">
              <a:solidFill>
                <a:srgbClr val="000000"/>
              </a:solidFill>
              <a:cs typeface="Arial"/>
            </a:endParaRP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nb-NO">
                <a:solidFill>
                  <a:srgbClr val="000000"/>
                </a:solidFill>
              </a:rPr>
              <a:t>fagansvarlig pr. prosess fra fakultetene</a:t>
            </a:r>
            <a:endParaRPr lang="nb-NO">
              <a:solidFill>
                <a:srgbClr val="000000"/>
              </a:solidFill>
              <a:cs typeface="Arial"/>
            </a:endParaRP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nb-NO">
                <a:solidFill>
                  <a:srgbClr val="000000"/>
                </a:solidFill>
              </a:rPr>
              <a:t>fagressurser pr. prosess fra </a:t>
            </a:r>
            <a:r>
              <a:rPr lang="nb-NO" err="1">
                <a:solidFill>
                  <a:srgbClr val="000000"/>
                </a:solidFill>
              </a:rPr>
              <a:t>fellesadm</a:t>
            </a:r>
            <a:r>
              <a:rPr lang="nb-NO">
                <a:solidFill>
                  <a:srgbClr val="000000"/>
                </a:solidFill>
              </a:rPr>
              <a:t> og fakultetene</a:t>
            </a:r>
            <a:endParaRPr lang="nb-NO">
              <a:solidFill>
                <a:srgbClr val="000000"/>
              </a:solidFill>
              <a:cs typeface="Arial"/>
            </a:endParaRPr>
          </a:p>
          <a:p>
            <a:pPr lvl="0"/>
            <a:endParaRPr lang="nb-NO">
              <a:solidFill>
                <a:schemeClr val="tx2"/>
              </a:solidFill>
            </a:endParaRPr>
          </a:p>
          <a:p>
            <a:pPr lvl="0"/>
            <a:r>
              <a:rPr lang="nb-NO" sz="2000" b="1" err="1">
                <a:solidFill>
                  <a:schemeClr val="tx2"/>
                </a:solidFill>
              </a:rPr>
              <a:t>Kjerneteam</a:t>
            </a:r>
            <a:endParaRPr lang="nb-NO" sz="2000" b="1">
              <a:solidFill>
                <a:schemeClr val="tx2"/>
              </a:solidFill>
            </a:endParaRP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nb-NO" err="1">
                <a:solidFill>
                  <a:srgbClr val="000000"/>
                </a:solidFill>
              </a:rPr>
              <a:t>kjerneteamene</a:t>
            </a:r>
            <a:r>
              <a:rPr lang="nb-NO">
                <a:solidFill>
                  <a:srgbClr val="000000"/>
                </a:solidFill>
              </a:rPr>
              <a:t> pr. prosess utgår fra ressursteamet </a:t>
            </a:r>
            <a:endParaRPr lang="nb-NO">
              <a:solidFill>
                <a:srgbClr val="000000"/>
              </a:solidFill>
              <a:cs typeface="Arial"/>
            </a:endParaRP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nb-NO" err="1">
                <a:solidFill>
                  <a:srgbClr val="000000"/>
                </a:solidFill>
              </a:rPr>
              <a:t>kjerneteamene</a:t>
            </a:r>
            <a:r>
              <a:rPr lang="nb-NO">
                <a:solidFill>
                  <a:srgbClr val="000000"/>
                </a:solidFill>
              </a:rPr>
              <a:t> som jobber med forslag til løsning til behandling til ressursteamet </a:t>
            </a:r>
            <a:endParaRPr lang="nb-NO">
              <a:solidFill>
                <a:srgbClr val="000000"/>
              </a:solidFill>
              <a:cs typeface="Arial"/>
            </a:endParaRPr>
          </a:p>
          <a:p>
            <a:pPr lvl="0"/>
            <a:endParaRPr lang="nb-NO">
              <a:solidFill>
                <a:srgbClr val="000000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4AA9291-451E-4735-BDEE-3DBD9D1D65D3}"/>
              </a:ext>
            </a:extLst>
          </p:cNvPr>
          <p:cNvGrpSpPr/>
          <p:nvPr/>
        </p:nvGrpSpPr>
        <p:grpSpPr>
          <a:xfrm>
            <a:off x="11354129" y="151528"/>
            <a:ext cx="550120" cy="550120"/>
            <a:chOff x="8009855" y="2932321"/>
            <a:chExt cx="550120" cy="550120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88D93374-0EBE-4C90-BA4D-F29DA7FEC82C}"/>
                </a:ext>
              </a:extLst>
            </p:cNvPr>
            <p:cNvSpPr/>
            <p:nvPr/>
          </p:nvSpPr>
          <p:spPr>
            <a:xfrm>
              <a:off x="8009855" y="2932321"/>
              <a:ext cx="550120" cy="550120"/>
            </a:xfrm>
            <a:prstGeom prst="ellipse">
              <a:avLst/>
            </a:prstGeom>
            <a:solidFill>
              <a:srgbClr val="8D9C1B"/>
            </a:solidFill>
            <a:ln w="28575">
              <a:solidFill>
                <a:schemeClr val="bg1"/>
              </a:solidFill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54">
                <a:defRPr/>
              </a:pPr>
              <a:endParaRPr lang="nb-NO" sz="933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pic>
          <p:nvPicPr>
            <p:cNvPr id="5" name="Graphic 4" descr="Run">
              <a:extLst>
                <a:ext uri="{FF2B5EF4-FFF2-40B4-BE49-F238E27FC236}">
                  <a16:creationId xmlns:a16="http://schemas.microsoft.com/office/drawing/2014/main" id="{D2058BD7-363C-4CA5-9BDD-70A16AB4E69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flipH="1">
              <a:off x="8107184" y="2996779"/>
              <a:ext cx="388139" cy="407095"/>
            </a:xfrm>
            <a:prstGeom prst="rect">
              <a:avLst/>
            </a:prstGeom>
          </p:spPr>
        </p:pic>
      </p:grpSp>
      <p:pic>
        <p:nvPicPr>
          <p:cNvPr id="8" name="Picture 7" descr="A picture containing sky, outdoor, snow&#10;&#10;Description automatically generated">
            <a:extLst>
              <a:ext uri="{FF2B5EF4-FFF2-40B4-BE49-F238E27FC236}">
                <a16:creationId xmlns:a16="http://schemas.microsoft.com/office/drawing/2014/main" id="{EBB61A25-6856-411F-8FC8-DC165B21615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11728"/>
          <a:stretch/>
        </p:blipFill>
        <p:spPr>
          <a:xfrm>
            <a:off x="6857672" y="1643787"/>
            <a:ext cx="4724728" cy="3570425"/>
          </a:xfrm>
          <a:prstGeom prst="snip2DiagRect">
            <a:avLst>
              <a:gd name="adj1" fmla="val 0"/>
              <a:gd name="adj2" fmla="val 46473"/>
            </a:avLst>
          </a:prstGeom>
        </p:spPr>
      </p:pic>
    </p:spTree>
    <p:extLst>
      <p:ext uri="{BB962C8B-B14F-4D97-AF65-F5344CB8AC3E}">
        <p14:creationId xmlns:p14="http://schemas.microsoft.com/office/powerpoint/2010/main" val="13515357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410667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4800" b="1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1BF79C-502F-4F81-96D6-71B28749ACE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6495" r="-1"/>
          <a:stretch/>
        </p:blipFill>
        <p:spPr>
          <a:xfrm>
            <a:off x="6686550" y="0"/>
            <a:ext cx="5505450" cy="6858000"/>
          </a:xfrm>
          <a:prstGeom prst="snip2DiagRect">
            <a:avLst>
              <a:gd name="adj1" fmla="val 33218"/>
              <a:gd name="adj2" fmla="val 0"/>
            </a:avLst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FE180F49-3DDB-4158-BE22-CFF8393A1D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643759"/>
              </p:ext>
            </p:extLst>
          </p:nvPr>
        </p:nvGraphicFramePr>
        <p:xfrm>
          <a:off x="401847" y="1211668"/>
          <a:ext cx="5414753" cy="51206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Forventninger til Kick-</a:t>
                      </a:r>
                      <a:r>
                        <a:rPr lang="nb-NO" sz="1600" err="1">
                          <a:solidFill>
                            <a:schemeClr val="tx1"/>
                          </a:solidFill>
                        </a:rPr>
                        <a:t>off</a:t>
                      </a:r>
                      <a:endParaRPr lang="nb-NO" sz="160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251633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Prosjektorganisering og kort status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969310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/>
                        <a:t>Overordnet fremdriftspla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83103521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Hva skjer innen:</a:t>
                      </a:r>
                      <a:endParaRPr lang="nb-NO" sz="1600" u="sng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685635847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- økonomimode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6483625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- BEVISS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6605733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/>
                        <a:t>- </a:t>
                      </a:r>
                      <a:r>
                        <a:rPr lang="nb-NO" sz="1600" u="none"/>
                        <a:t>systeminnførin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38864994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- </a:t>
                      </a:r>
                      <a:r>
                        <a:rPr lang="nb-NO" sz="1600" u="none"/>
                        <a:t>prosessgjennomgan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40770477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en-US" sz="1600" b="0" i="0" u="none" kern="120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ganisasjonsprosesser</a:t>
                      </a:r>
                      <a:endParaRPr lang="nb-NO" sz="16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451191049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Pause (09.10 - 09.15)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7043672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va vil dette kreve av oss?</a:t>
                      </a: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Avrunding og veien vider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91002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18EFB43E-4E34-447B-8E4B-F1C6E0D39E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9265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18EFB43E-4E34-447B-8E4B-F1C6E0D39E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057C357C-A61E-4A49-9606-EEF802B7179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21CF538-1975-4D07-A305-AA23F75B04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Detaljert framdriftsplan</a:t>
            </a:r>
          </a:p>
        </p:txBody>
      </p:sp>
      <p:pic>
        <p:nvPicPr>
          <p:cNvPr id="13" name="Picture Placeholder 5" descr="Plan for prosjektgjennomganger.xlsx - Excel">
            <a:extLst>
              <a:ext uri="{FF2B5EF4-FFF2-40B4-BE49-F238E27FC236}">
                <a16:creationId xmlns:a16="http://schemas.microsoft.com/office/drawing/2014/main" id="{4B1F584E-BAA9-40C8-B670-648C0C2C4231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609600" y="1205305"/>
            <a:ext cx="10587448" cy="521217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2ACBE2D-B921-4D87-8E16-424E82FC0ADD}"/>
              </a:ext>
            </a:extLst>
          </p:cNvPr>
          <p:cNvSpPr/>
          <p:nvPr/>
        </p:nvSpPr>
        <p:spPr>
          <a:xfrm>
            <a:off x="609601" y="2355495"/>
            <a:ext cx="10524134" cy="1375258"/>
          </a:xfrm>
          <a:prstGeom prst="rect">
            <a:avLst/>
          </a:prstGeom>
          <a:noFill/>
          <a:ln w="3810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5982895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1BF79C-502F-4F81-96D6-71B28749ACE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6495" r="-1"/>
          <a:stretch/>
        </p:blipFill>
        <p:spPr>
          <a:xfrm>
            <a:off x="6686550" y="0"/>
            <a:ext cx="5505450" cy="6858000"/>
          </a:xfrm>
          <a:prstGeom prst="snip2DiagRect">
            <a:avLst>
              <a:gd name="adj1" fmla="val 33218"/>
              <a:gd name="adj2" fmla="val 0"/>
            </a:avLst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9FC920B-761B-45F9-B376-BCA0DCD1E6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7781465"/>
              </p:ext>
            </p:extLst>
          </p:nvPr>
        </p:nvGraphicFramePr>
        <p:xfrm>
          <a:off x="401847" y="1211668"/>
          <a:ext cx="5414753" cy="51206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Forventninger til Kick-</a:t>
                      </a:r>
                      <a:r>
                        <a:rPr lang="nb-NO" sz="1600" err="1">
                          <a:solidFill>
                            <a:schemeClr val="tx1"/>
                          </a:solidFill>
                        </a:rPr>
                        <a:t>off</a:t>
                      </a:r>
                      <a:endParaRPr lang="nb-NO" sz="160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251633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Prosjektorganisering og kort status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969310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/>
                        <a:t>Overordnet fremdriftspla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83103521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Hva skjer innen:</a:t>
                      </a:r>
                      <a:endParaRPr lang="nb-NO" sz="1600" b="0" u="sng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5635847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- økonomimode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6483625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u="none">
                          <a:solidFill>
                            <a:schemeClr val="tx1"/>
                          </a:solidFill>
                        </a:rPr>
                        <a:t>- BEVISS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05733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- </a:t>
                      </a:r>
                      <a:r>
                        <a:rPr lang="nb-NO" sz="1600" b="0" u="none">
                          <a:solidFill>
                            <a:schemeClr val="tx1"/>
                          </a:solidFill>
                        </a:rPr>
                        <a:t>systeminnføring</a:t>
                      </a:r>
                      <a:endParaRPr lang="nb-NO" sz="1600" b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864994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- </a:t>
                      </a:r>
                      <a:r>
                        <a:rPr lang="nb-NO" sz="1600" b="0" u="none">
                          <a:solidFill>
                            <a:schemeClr val="tx1"/>
                          </a:solidFill>
                        </a:rPr>
                        <a:t>prosessgjennomgang</a:t>
                      </a:r>
                      <a:endParaRPr lang="nb-NO" sz="1600" b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770477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en-US" sz="1600" b="1" i="0" u="none" kern="120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ganisasjonsprosesser</a:t>
                      </a:r>
                      <a:endParaRPr lang="nb-NO" sz="16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1191049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Pause (09.10 - 09.15)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7043672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va vil dette kreve av oss?</a:t>
                      </a: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Avrunding og veien vider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898141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35E0B1B-D560-4B66-948D-D47555ABB8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0744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35E0B1B-D560-4B66-948D-D47555ABB8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DA4C8EC8-E625-4F9F-BFE2-315BA4062A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Organisasjonsprosess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37B0799-B530-4039-8826-5A95539903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5878880" cy="4818365"/>
          </a:xfrm>
        </p:spPr>
        <p:txBody>
          <a:bodyPr/>
          <a:lstStyle/>
          <a:p>
            <a:pPr marL="0" indent="0" fontAlgn="base">
              <a:buNone/>
            </a:pPr>
            <a:r>
              <a:rPr lang="nn-NO" sz="2000" b="1" err="1">
                <a:solidFill>
                  <a:schemeClr val="tx2"/>
                </a:solidFill>
              </a:rPr>
              <a:t>Hvor</a:t>
            </a:r>
            <a:r>
              <a:rPr lang="nn-NO" sz="2000" b="1">
                <a:solidFill>
                  <a:schemeClr val="tx2"/>
                </a:solidFill>
              </a:rPr>
              <a:t> står vi</a:t>
            </a:r>
          </a:p>
          <a:p>
            <a:pPr fontAlgn="base"/>
            <a:r>
              <a:rPr lang="nn-NO" sz="1600"/>
              <a:t>Vi har laget gode prosesser ifbm. prosessgjennomgang og felles ambisjonsnivå</a:t>
            </a:r>
          </a:p>
          <a:p>
            <a:pPr fontAlgn="base"/>
            <a:r>
              <a:rPr lang="nn-NO" sz="1600" err="1"/>
              <a:t>Rigger</a:t>
            </a:r>
            <a:r>
              <a:rPr lang="nn-NO" sz="1600"/>
              <a:t> for å </a:t>
            </a:r>
            <a:r>
              <a:rPr lang="nn-NO" sz="1600" err="1"/>
              <a:t>bistå</a:t>
            </a:r>
            <a:r>
              <a:rPr lang="nn-NO" sz="1600"/>
              <a:t> </a:t>
            </a:r>
            <a:r>
              <a:rPr lang="nn-NO" sz="1600" err="1"/>
              <a:t>enhetene</a:t>
            </a:r>
            <a:r>
              <a:rPr lang="nn-NO" sz="1600"/>
              <a:t> i gjennomføring av arbeidet </a:t>
            </a:r>
          </a:p>
          <a:p>
            <a:pPr fontAlgn="base"/>
            <a:r>
              <a:rPr lang="nn-NO" sz="1600"/>
              <a:t>Interessentanalyse og forankring av prosjekt og prosess</a:t>
            </a:r>
          </a:p>
          <a:p>
            <a:pPr marL="0" indent="0" fontAlgn="base">
              <a:buNone/>
            </a:pPr>
            <a:br>
              <a:rPr lang="nn-NO" sz="1600" b="1"/>
            </a:br>
            <a:r>
              <a:rPr lang="nn-NO" sz="2000" b="1" err="1">
                <a:solidFill>
                  <a:schemeClr val="tx2"/>
                </a:solidFill>
              </a:rPr>
              <a:t>Hva</a:t>
            </a:r>
            <a:r>
              <a:rPr lang="nn-NO" sz="2000" b="1">
                <a:solidFill>
                  <a:schemeClr val="tx2"/>
                </a:solidFill>
              </a:rPr>
              <a:t> skjer </a:t>
            </a:r>
            <a:r>
              <a:rPr lang="nn-NO" sz="2000" b="1" err="1">
                <a:solidFill>
                  <a:schemeClr val="tx2"/>
                </a:solidFill>
              </a:rPr>
              <a:t>fremover</a:t>
            </a:r>
            <a:endParaRPr lang="nn-NO" sz="2000" b="1">
              <a:solidFill>
                <a:schemeClr val="tx2"/>
              </a:solidFill>
            </a:endParaRPr>
          </a:p>
          <a:p>
            <a:pPr fontAlgn="base"/>
            <a:r>
              <a:rPr lang="nn-NO" sz="1600"/>
              <a:t>Utvikling av felles rammeverk og tilnærming for endring</a:t>
            </a:r>
          </a:p>
          <a:p>
            <a:pPr fontAlgn="base"/>
            <a:r>
              <a:rPr lang="nn-NO" sz="1600"/>
              <a:t>Støtte med </a:t>
            </a:r>
            <a:r>
              <a:rPr lang="nn-NO" sz="1600" err="1"/>
              <a:t>fasilitering</a:t>
            </a:r>
            <a:r>
              <a:rPr lang="nn-NO" sz="1600"/>
              <a:t> i prosessgjennomgang</a:t>
            </a:r>
          </a:p>
          <a:p>
            <a:pPr marL="0" indent="0" fontAlgn="base">
              <a:buNone/>
            </a:pPr>
            <a:endParaRPr lang="nn-NO" sz="1600" b="1"/>
          </a:p>
          <a:p>
            <a:pPr marL="0" indent="0" fontAlgn="base">
              <a:buNone/>
            </a:pPr>
            <a:r>
              <a:rPr lang="nn-NO" sz="2000" b="1" err="1">
                <a:solidFill>
                  <a:schemeClr val="tx2"/>
                </a:solidFill>
              </a:rPr>
              <a:t>Hva</a:t>
            </a:r>
            <a:r>
              <a:rPr lang="nn-NO" sz="2000" b="1">
                <a:solidFill>
                  <a:schemeClr val="tx2"/>
                </a:solidFill>
              </a:rPr>
              <a:t> blir viktig:</a:t>
            </a:r>
          </a:p>
          <a:p>
            <a:r>
              <a:rPr lang="nb-NO" sz="1600"/>
              <a:t>Åpne og forutsigbare prosesser med god forankring</a:t>
            </a:r>
          </a:p>
          <a:p>
            <a:r>
              <a:rPr lang="nb-NO" sz="1600"/>
              <a:t>God dialog med organisasjonen for å forstå behov og ønsker</a:t>
            </a:r>
          </a:p>
          <a:p>
            <a:r>
              <a:rPr lang="nb-NO" sz="1600"/>
              <a:t>Skape felles retning og trygghe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8050A07-D428-4D33-8BB2-E25BC87EE9A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6667" r="16667"/>
          <a:stretch/>
        </p:blipFill>
        <p:spPr>
          <a:xfrm>
            <a:off x="6658941" y="1459573"/>
            <a:ext cx="4593260" cy="4593260"/>
          </a:xfrm>
          <a:prstGeom prst="snip2DiagRect">
            <a:avLst>
              <a:gd name="adj1" fmla="val 0"/>
              <a:gd name="adj2" fmla="val 32704"/>
            </a:avLst>
          </a:prstGeom>
        </p:spPr>
      </p:pic>
    </p:spTree>
    <p:extLst>
      <p:ext uri="{BB962C8B-B14F-4D97-AF65-F5344CB8AC3E}">
        <p14:creationId xmlns:p14="http://schemas.microsoft.com/office/powerpoint/2010/main" val="263457419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30F295A-BBA8-4CA8-9BD8-09E98A7359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30F295A-BBA8-4CA8-9BD8-09E98A7359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284BE982-075B-4CFB-9EB5-51178CF8CA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EC39BD-5119-402C-A652-932320B0C0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0"/>
            <a:ext cx="11224996" cy="864683"/>
          </a:xfrm>
        </p:spPr>
        <p:txBody>
          <a:bodyPr/>
          <a:lstStyle/>
          <a:p>
            <a:r>
              <a:rPr lang="nb-NO"/>
              <a:t>Organisasjonsprosesser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72E4572-6A73-4226-9238-5FA3EA2A9AA2}"/>
              </a:ext>
            </a:extLst>
          </p:cNvPr>
          <p:cNvGrpSpPr/>
          <p:nvPr/>
        </p:nvGrpSpPr>
        <p:grpSpPr>
          <a:xfrm>
            <a:off x="401847" y="1287869"/>
            <a:ext cx="11634985" cy="747037"/>
            <a:chOff x="860030" y="1797245"/>
            <a:chExt cx="10229274" cy="755995"/>
          </a:xfrm>
        </p:grpSpPr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BC38ABFD-D4FC-44FF-829D-BA97DEFC5B85}"/>
                </a:ext>
              </a:extLst>
            </p:cNvPr>
            <p:cNvSpPr/>
            <p:nvPr/>
          </p:nvSpPr>
          <p:spPr bwMode="gray">
            <a:xfrm>
              <a:off x="860032" y="1912916"/>
              <a:ext cx="960936" cy="230015"/>
            </a:xfrm>
            <a:prstGeom prst="homePlate">
              <a:avLst/>
            </a:prstGeom>
            <a:solidFill>
              <a:schemeClr val="bg1">
                <a:lumMod val="8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914377">
                <a:lnSpc>
                  <a:spcPct val="106000"/>
                </a:lnSpc>
              </a:pPr>
              <a:r>
                <a:rPr lang="nb-NO" sz="1200" b="1">
                  <a:solidFill>
                    <a:srgbClr val="FFFFFF"/>
                  </a:solidFill>
                  <a:latin typeface="Calibri Light"/>
                </a:rPr>
                <a:t>Forankring</a:t>
              </a:r>
            </a:p>
          </p:txBody>
        </p:sp>
        <p:sp>
          <p:nvSpPr>
            <p:cNvPr id="5" name="Arrow: Chevron 4">
              <a:extLst>
                <a:ext uri="{FF2B5EF4-FFF2-40B4-BE49-F238E27FC236}">
                  <a16:creationId xmlns:a16="http://schemas.microsoft.com/office/drawing/2014/main" id="{FF7AED25-52C7-4A97-B1FE-A83B53E4B25D}"/>
                </a:ext>
              </a:extLst>
            </p:cNvPr>
            <p:cNvSpPr/>
            <p:nvPr/>
          </p:nvSpPr>
          <p:spPr bwMode="gray">
            <a:xfrm>
              <a:off x="4361900" y="1797245"/>
              <a:ext cx="4255804" cy="755995"/>
            </a:xfrm>
            <a:prstGeom prst="chevron">
              <a:avLst/>
            </a:prstGeom>
            <a:solidFill>
              <a:srgbClr val="0166CB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914377">
                <a:lnSpc>
                  <a:spcPct val="106000"/>
                </a:lnSpc>
              </a:pPr>
              <a:r>
                <a:rPr lang="nb-NO" sz="1600" b="1">
                  <a:solidFill>
                    <a:srgbClr val="FFFFFF"/>
                  </a:solidFill>
                  <a:latin typeface="Calibri Light"/>
                </a:rPr>
                <a:t>Prosess for tilpasning av arbeidsorganisering </a:t>
              </a:r>
              <a:br>
                <a:rPr lang="nb-NO" sz="1600" b="1">
                  <a:solidFill>
                    <a:srgbClr val="FFFFFF"/>
                  </a:solidFill>
                  <a:latin typeface="Calibri Light"/>
                </a:rPr>
              </a:br>
              <a:r>
                <a:rPr lang="nb-NO" sz="1600" b="1">
                  <a:solidFill>
                    <a:srgbClr val="FFFFFF"/>
                  </a:solidFill>
                  <a:latin typeface="Calibri Light"/>
                </a:rPr>
                <a:t>og -deling for valgte områder</a:t>
              </a:r>
            </a:p>
          </p:txBody>
        </p:sp>
        <p:sp>
          <p:nvSpPr>
            <p:cNvPr id="6" name="Arrow: Chevron 5">
              <a:extLst>
                <a:ext uri="{FF2B5EF4-FFF2-40B4-BE49-F238E27FC236}">
                  <a16:creationId xmlns:a16="http://schemas.microsoft.com/office/drawing/2014/main" id="{16CD0035-33A4-4094-9F11-42AB8914BD84}"/>
                </a:ext>
              </a:extLst>
            </p:cNvPr>
            <p:cNvSpPr/>
            <p:nvPr/>
          </p:nvSpPr>
          <p:spPr bwMode="gray">
            <a:xfrm>
              <a:off x="8448968" y="1912916"/>
              <a:ext cx="2640336" cy="487967"/>
            </a:xfrm>
            <a:prstGeom prst="chevron">
              <a:avLst/>
            </a:prstGeom>
            <a:solidFill>
              <a:schemeClr val="bg1">
                <a:lumMod val="85000"/>
              </a:schemeClr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lnSpc>
                  <a:spcPct val="106000"/>
                </a:lnSpc>
              </a:pPr>
              <a:r>
                <a:rPr lang="nb-NO" sz="1200" b="1">
                  <a:solidFill>
                    <a:srgbClr val="FFFFFF"/>
                  </a:solidFill>
                  <a:latin typeface="Calibri Light"/>
                </a:rPr>
                <a:t>Opplæring</a:t>
              </a:r>
            </a:p>
          </p:txBody>
        </p:sp>
        <p:sp>
          <p:nvSpPr>
            <p:cNvPr id="7" name="Arrow: Pentagon 6">
              <a:extLst>
                <a:ext uri="{FF2B5EF4-FFF2-40B4-BE49-F238E27FC236}">
                  <a16:creationId xmlns:a16="http://schemas.microsoft.com/office/drawing/2014/main" id="{96A2AE79-8622-480E-B330-EA5B20DE5D01}"/>
                </a:ext>
              </a:extLst>
            </p:cNvPr>
            <p:cNvSpPr/>
            <p:nvPr/>
          </p:nvSpPr>
          <p:spPr bwMode="gray">
            <a:xfrm>
              <a:off x="860030" y="2171375"/>
              <a:ext cx="964441" cy="239747"/>
            </a:xfrm>
            <a:prstGeom prst="homePlate">
              <a:avLst/>
            </a:prstGeom>
            <a:solidFill>
              <a:schemeClr val="bg1">
                <a:lumMod val="8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914377">
                <a:lnSpc>
                  <a:spcPct val="106000"/>
                </a:lnSpc>
              </a:pPr>
              <a:r>
                <a:rPr lang="nb-NO" sz="1200" b="1">
                  <a:solidFill>
                    <a:srgbClr val="FFFFFF"/>
                  </a:solidFill>
                  <a:latin typeface="Calibri Light"/>
                </a:rPr>
                <a:t>Innsikt</a:t>
              </a:r>
            </a:p>
          </p:txBody>
        </p:sp>
        <p:sp>
          <p:nvSpPr>
            <p:cNvPr id="8" name="Arrow: Chevron 7">
              <a:extLst>
                <a:ext uri="{FF2B5EF4-FFF2-40B4-BE49-F238E27FC236}">
                  <a16:creationId xmlns:a16="http://schemas.microsoft.com/office/drawing/2014/main" id="{6AD1EC9A-7AEE-437D-B613-B69BB004D6DF}"/>
                </a:ext>
              </a:extLst>
            </p:cNvPr>
            <p:cNvSpPr/>
            <p:nvPr/>
          </p:nvSpPr>
          <p:spPr bwMode="gray">
            <a:xfrm>
              <a:off x="1771781" y="1912916"/>
              <a:ext cx="1831031" cy="500645"/>
            </a:xfrm>
            <a:prstGeom prst="chevron">
              <a:avLst/>
            </a:prstGeom>
            <a:solidFill>
              <a:schemeClr val="bg1">
                <a:lumMod val="85000"/>
              </a:schemeClr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914377">
                <a:lnSpc>
                  <a:spcPct val="106000"/>
                </a:lnSpc>
              </a:pPr>
              <a:r>
                <a:rPr lang="nb-NO" sz="1200" b="1">
                  <a:solidFill>
                    <a:srgbClr val="FFFFFF"/>
                  </a:solidFill>
                  <a:latin typeface="Calibri Light"/>
                </a:rPr>
                <a:t>Prosessanalyse og  organisering </a:t>
              </a:r>
            </a:p>
          </p:txBody>
        </p:sp>
        <p:sp>
          <p:nvSpPr>
            <p:cNvPr id="9" name="Arrow: Chevron 8">
              <a:extLst>
                <a:ext uri="{FF2B5EF4-FFF2-40B4-BE49-F238E27FC236}">
                  <a16:creationId xmlns:a16="http://schemas.microsoft.com/office/drawing/2014/main" id="{00A8CD36-C41E-4B5C-99FD-735BCC329ADA}"/>
                </a:ext>
              </a:extLst>
            </p:cNvPr>
            <p:cNvSpPr/>
            <p:nvPr/>
          </p:nvSpPr>
          <p:spPr bwMode="gray">
            <a:xfrm>
              <a:off x="3410667" y="1912916"/>
              <a:ext cx="1210371" cy="507776"/>
            </a:xfrm>
            <a:prstGeom prst="chevron">
              <a:avLst/>
            </a:prstGeom>
            <a:solidFill>
              <a:schemeClr val="bg1">
                <a:lumMod val="85000"/>
              </a:schemeClr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 defTabSz="914377">
                <a:lnSpc>
                  <a:spcPct val="106000"/>
                </a:lnSpc>
              </a:pPr>
              <a:r>
                <a:rPr lang="nb-NO" sz="1200" b="1">
                  <a:solidFill>
                    <a:srgbClr val="FFFFFF"/>
                  </a:solidFill>
                  <a:latin typeface="Calibri Light"/>
                </a:rPr>
                <a:t>Vurdering og beslutning</a:t>
              </a:r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DFA08095-A8B7-44DF-B24C-74611879EBE3}"/>
              </a:ext>
            </a:extLst>
          </p:cNvPr>
          <p:cNvSpPr/>
          <p:nvPr/>
        </p:nvSpPr>
        <p:spPr>
          <a:xfrm>
            <a:off x="439947" y="2009505"/>
            <a:ext cx="11472653" cy="39878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b="1">
                <a:solidFill>
                  <a:schemeClr val="accent2"/>
                </a:solidFill>
              </a:rPr>
              <a:t>Prosjektet vil ta ansvar for å:</a:t>
            </a:r>
            <a:br>
              <a:rPr lang="nb-NO" b="1">
                <a:solidFill>
                  <a:schemeClr val="accent2"/>
                </a:solidFill>
              </a:rPr>
            </a:br>
            <a:endParaRPr lang="nb-NO" b="1">
              <a:solidFill>
                <a:schemeClr val="accent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tx1"/>
                </a:solidFill>
              </a:rPr>
              <a:t>Utvikle og formidle detaljert fremgangsmåte for å støtte enhetene i håndtering av endringe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tx1"/>
                </a:solidFill>
              </a:rPr>
              <a:t>Vi vil kartlegge og lage en prosessplan for formell håndtering (LOSAM og IDF) på enhete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tx1"/>
                </a:solidFill>
              </a:rPr>
              <a:t>Håndtere SESAM og AMU på sentralt nivå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tx1"/>
                </a:solidFill>
              </a:rPr>
              <a:t>Bistå med rådgivning og prosessveiledning til enkelte enheter etter beho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tx1"/>
                </a:solidFill>
              </a:rPr>
              <a:t>Praktisk støtte til gjennomføring av end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tx1"/>
                </a:solidFill>
              </a:rPr>
              <a:t>Metodisk verktøy for endringsprosesser (verktøykass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tx1"/>
                </a:solidFill>
              </a:rPr>
              <a:t>Rådgivning og prosess </a:t>
            </a:r>
            <a:r>
              <a:rPr lang="nb-NO" err="1">
                <a:solidFill>
                  <a:schemeClr val="tx1"/>
                </a:solidFill>
              </a:rPr>
              <a:t>ihht</a:t>
            </a:r>
            <a:r>
              <a:rPr lang="nb-NO">
                <a:solidFill>
                  <a:schemeClr val="tx1"/>
                </a:solidFill>
              </a:rPr>
              <a:t>. lovkra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>
              <a:solidFill>
                <a:schemeClr val="accent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>
              <a:solidFill>
                <a:schemeClr val="accent2"/>
              </a:solidFill>
            </a:endParaRPr>
          </a:p>
        </p:txBody>
      </p:sp>
      <p:graphicFrame>
        <p:nvGraphicFramePr>
          <p:cNvPr id="23" name="Diagram 22">
            <a:extLst>
              <a:ext uri="{FF2B5EF4-FFF2-40B4-BE49-F238E27FC236}">
                <a16:creationId xmlns:a16="http://schemas.microsoft.com/office/drawing/2014/main" id="{A3F8BB4F-B58A-4B69-9823-8CB8A923068B}"/>
              </a:ext>
            </a:extLst>
          </p:cNvPr>
          <p:cNvGraphicFramePr/>
          <p:nvPr/>
        </p:nvGraphicFramePr>
        <p:xfrm>
          <a:off x="401846" y="907386"/>
          <a:ext cx="11634985" cy="4821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94201227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1BF79C-502F-4F81-96D6-71B28749ACE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6495" r="-1"/>
          <a:stretch/>
        </p:blipFill>
        <p:spPr>
          <a:xfrm>
            <a:off x="6686550" y="0"/>
            <a:ext cx="5505450" cy="6858000"/>
          </a:xfrm>
          <a:prstGeom prst="snip2DiagRect">
            <a:avLst>
              <a:gd name="adj1" fmla="val 33218"/>
              <a:gd name="adj2" fmla="val 0"/>
            </a:avLst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9FC920B-761B-45F9-B376-BCA0DCD1E6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5391531"/>
              </p:ext>
            </p:extLst>
          </p:nvPr>
        </p:nvGraphicFramePr>
        <p:xfrm>
          <a:off x="401847" y="1211668"/>
          <a:ext cx="5414753" cy="51206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Forventninger til Kick-</a:t>
                      </a:r>
                      <a:r>
                        <a:rPr lang="nb-NO" sz="1600" err="1">
                          <a:solidFill>
                            <a:schemeClr val="tx1"/>
                          </a:solidFill>
                        </a:rPr>
                        <a:t>off</a:t>
                      </a:r>
                      <a:endParaRPr lang="nb-NO" sz="160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251633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Prosjektorganisering og kort status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969310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/>
                        <a:t>Overordnet fremdriftspla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83103521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Hva skjer innen:</a:t>
                      </a:r>
                      <a:endParaRPr lang="nb-NO" sz="1600" b="0" u="sng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5635847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- økonomimode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6483625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u="none">
                          <a:solidFill>
                            <a:schemeClr val="tx1"/>
                          </a:solidFill>
                        </a:rPr>
                        <a:t>- BEVISS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05733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- </a:t>
                      </a:r>
                      <a:r>
                        <a:rPr lang="nb-NO" sz="1600" b="0" u="none">
                          <a:solidFill>
                            <a:schemeClr val="tx1"/>
                          </a:solidFill>
                        </a:rPr>
                        <a:t>systeminnføring</a:t>
                      </a:r>
                      <a:endParaRPr lang="nb-NO" sz="1600" b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864994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- </a:t>
                      </a:r>
                      <a:r>
                        <a:rPr lang="nb-NO" sz="1600" b="0" u="none">
                          <a:solidFill>
                            <a:schemeClr val="tx1"/>
                          </a:solidFill>
                        </a:rPr>
                        <a:t>prosessgjennomgang</a:t>
                      </a:r>
                      <a:endParaRPr lang="nb-NO" sz="1600" b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770477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en-US" sz="16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ganisasjonsprosesser</a:t>
                      </a:r>
                      <a:endParaRPr lang="nb-NO" sz="16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1191049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Pause (09.10 - 09.15)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043672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va vil dette kreve av oss?</a:t>
                      </a: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Avrunding og veien vider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5460296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E3039A-84E4-403F-8A6E-0CA2872A70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5972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E3039A-84E4-403F-8A6E-0CA2872A70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B6AF96DE-64F7-4D3E-9F11-2EA101F6D39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166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BAE6A9E-A2CF-4B0A-955B-3A6DFAD935D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504705-DED7-4650-AC69-F206FE08CD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774" y="2104470"/>
            <a:ext cx="10153843" cy="2649060"/>
          </a:xfrm>
          <a:effectLst>
            <a:reflection blurRad="6350" stA="50000" endA="300" endPos="55000" dir="5400000" sy="-100000" algn="bl" rotWithShape="0"/>
          </a:effectLst>
        </p:spPr>
        <p:txBody>
          <a:bodyPr/>
          <a:lstStyle/>
          <a:p>
            <a:r>
              <a:rPr lang="nb-NO" sz="16600" b="0">
                <a:ln w="0"/>
                <a:solidFill>
                  <a:srgbClr val="FFFF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aus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AD5AE8-F471-492B-B6E8-105EC48FB15E}"/>
              </a:ext>
            </a:extLst>
          </p:cNvPr>
          <p:cNvSpPr txBox="1"/>
          <p:nvPr/>
        </p:nvSpPr>
        <p:spPr>
          <a:xfrm>
            <a:off x="7980914" y="1197859"/>
            <a:ext cx="304800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500">
                <a:solidFill>
                  <a:schemeClr val="bg1"/>
                </a:solidFill>
              </a:rPr>
              <a:t>Tid igje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5DCF06D-A1C3-4254-BD02-91B113074D09}"/>
              </a:ext>
            </a:extLst>
          </p:cNvPr>
          <p:cNvSpPr/>
          <p:nvPr/>
        </p:nvSpPr>
        <p:spPr>
          <a:xfrm>
            <a:off x="7413523" y="1674913"/>
            <a:ext cx="4395019" cy="3985228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7458273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55309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1BF79C-502F-4F81-96D6-71B28749ACE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6495" r="-1"/>
          <a:stretch/>
        </p:blipFill>
        <p:spPr>
          <a:xfrm>
            <a:off x="6686550" y="0"/>
            <a:ext cx="5505450" cy="6858000"/>
          </a:xfrm>
          <a:prstGeom prst="snip2DiagRect">
            <a:avLst>
              <a:gd name="adj1" fmla="val 33218"/>
              <a:gd name="adj2" fmla="val 0"/>
            </a:avLst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9FC920B-761B-45F9-B376-BCA0DCD1E6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820980"/>
              </p:ext>
            </p:extLst>
          </p:nvPr>
        </p:nvGraphicFramePr>
        <p:xfrm>
          <a:off x="401847" y="1211668"/>
          <a:ext cx="5414753" cy="51206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Forventninger til Kick-</a:t>
                      </a:r>
                      <a:r>
                        <a:rPr lang="nb-NO" sz="1600" err="1">
                          <a:solidFill>
                            <a:schemeClr val="tx1"/>
                          </a:solidFill>
                        </a:rPr>
                        <a:t>off</a:t>
                      </a:r>
                      <a:endParaRPr lang="nb-NO" sz="160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251633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Prosjektorganisering og kort status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969310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/>
                        <a:t>Overordnet fremdriftspla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83103521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Hva skjer innen:</a:t>
                      </a:r>
                      <a:endParaRPr lang="nb-NO" sz="1600" b="0" u="sng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5635847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- økonomimode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6483625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u="none">
                          <a:solidFill>
                            <a:schemeClr val="tx1"/>
                          </a:solidFill>
                        </a:rPr>
                        <a:t>- BEVISS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05733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- </a:t>
                      </a:r>
                      <a:r>
                        <a:rPr lang="nb-NO" sz="1600" b="0" u="none">
                          <a:solidFill>
                            <a:schemeClr val="tx1"/>
                          </a:solidFill>
                        </a:rPr>
                        <a:t>systeminnføring</a:t>
                      </a:r>
                      <a:endParaRPr lang="nb-NO" sz="1600" b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864994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- </a:t>
                      </a:r>
                      <a:r>
                        <a:rPr lang="nb-NO" sz="1600" b="0" u="none">
                          <a:solidFill>
                            <a:schemeClr val="tx1"/>
                          </a:solidFill>
                        </a:rPr>
                        <a:t>prosessgjennomgang</a:t>
                      </a:r>
                      <a:endParaRPr lang="nb-NO" sz="1600" b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770477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en-US" sz="1600" b="0" i="0" u="none" kern="120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ganisasjonsprosesser</a:t>
                      </a:r>
                      <a:endParaRPr lang="nb-NO" sz="16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1191049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Pause (09.10 - 09.15)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043672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Spørsmål og 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va vil dette kreve av oss?</a:t>
                      </a: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Avrunding og veien vider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227488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C28DE4-487C-46C1-894E-EE4A898E68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6242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C28DE4-487C-46C1-894E-EE4A898E68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FE63F45-8C16-427D-9237-E7552F1892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76C26B-C0BD-40B7-8ACD-46FC653A5D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pørsmål og svar på </a:t>
            </a:r>
            <a:r>
              <a:rPr lang="nb-NO" err="1"/>
              <a:t>Mentimeter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528982-2FE1-450F-913B-2065FFB878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61990"/>
            <a:ext cx="6343650" cy="5059257"/>
          </a:xfrm>
        </p:spPr>
        <p:txBody>
          <a:bodyPr/>
          <a:lstStyle/>
          <a:p>
            <a:r>
              <a:rPr lang="nb-NO" sz="2000"/>
              <a:t>Vi skal bruke </a:t>
            </a:r>
            <a:r>
              <a:rPr lang="nb-NO" sz="2000" err="1"/>
              <a:t>Mentimeter</a:t>
            </a:r>
            <a:r>
              <a:rPr lang="nb-NO" sz="2000"/>
              <a:t> (menti.com)</a:t>
            </a:r>
          </a:p>
          <a:p>
            <a:r>
              <a:rPr lang="nb-NO" sz="2000"/>
              <a:t>Legg inn de spørsmålene du har tenkt på før og under pausen (og alle som du har lagt inn underveis er med) på menti.com med koden 96 73 20 0</a:t>
            </a:r>
          </a:p>
          <a:p>
            <a:r>
              <a:rPr lang="nb-NO" sz="2000"/>
              <a:t>Stem opp de spørsmålene du vil ha svar på (vi jobber oss gjennom så mange vi klarer)</a:t>
            </a:r>
          </a:p>
          <a:p>
            <a:r>
              <a:rPr lang="nb-NO" sz="2000"/>
              <a:t>Alle spørsmål svares ut under møtet eller på landingssiden etterpå (</a:t>
            </a:r>
            <a:r>
              <a:rPr lang="nb-NO" sz="2000" b="1">
                <a:solidFill>
                  <a:schemeClr val="tx2"/>
                </a:solidFill>
              </a:rPr>
              <a:t>s.ntnu.no/bott-ol</a:t>
            </a:r>
            <a:r>
              <a:rPr lang="nb-NO" sz="2000"/>
              <a:t>)</a:t>
            </a:r>
          </a:p>
        </p:txBody>
      </p:sp>
      <p:pic>
        <p:nvPicPr>
          <p:cNvPr id="8" name="Picture 7" descr="A picture containing sky, outdoor, mountain&#10;&#10;Description automatically generated">
            <a:extLst>
              <a:ext uri="{FF2B5EF4-FFF2-40B4-BE49-F238E27FC236}">
                <a16:creationId xmlns:a16="http://schemas.microsoft.com/office/drawing/2014/main" id="{3FDC10B1-3491-48AF-B83C-FE14F5F14B1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4242" r="758"/>
          <a:stretch/>
        </p:blipFill>
        <p:spPr>
          <a:xfrm>
            <a:off x="7190248" y="1648019"/>
            <a:ext cx="4487197" cy="44871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65451547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1BF79C-502F-4F81-96D6-71B28749ACE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6495" r="-1"/>
          <a:stretch/>
        </p:blipFill>
        <p:spPr>
          <a:xfrm>
            <a:off x="6686550" y="0"/>
            <a:ext cx="5505450" cy="6858000"/>
          </a:xfrm>
          <a:prstGeom prst="snip2DiagRect">
            <a:avLst>
              <a:gd name="adj1" fmla="val 33218"/>
              <a:gd name="adj2" fmla="val 0"/>
            </a:avLst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9FC920B-761B-45F9-B376-BCA0DCD1E6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5339360"/>
              </p:ext>
            </p:extLst>
          </p:nvPr>
        </p:nvGraphicFramePr>
        <p:xfrm>
          <a:off x="401847" y="1211668"/>
          <a:ext cx="5414753" cy="51206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Forventninger til Kick-</a:t>
                      </a:r>
                      <a:r>
                        <a:rPr lang="nb-NO" sz="1600" err="1">
                          <a:solidFill>
                            <a:schemeClr val="tx1"/>
                          </a:solidFill>
                        </a:rPr>
                        <a:t>off</a:t>
                      </a:r>
                      <a:endParaRPr lang="nb-NO" sz="160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251633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Prosjektorganisering og kort status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969310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/>
                        <a:t>Overordnet fremdriftspla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83103521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Hva skjer innen:</a:t>
                      </a:r>
                      <a:endParaRPr lang="nb-NO" sz="1600" b="0" u="sng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5635847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- økonomimode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6483625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u="none">
                          <a:solidFill>
                            <a:schemeClr val="tx1"/>
                          </a:solidFill>
                        </a:rPr>
                        <a:t>- BEVISS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05733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- </a:t>
                      </a:r>
                      <a:r>
                        <a:rPr lang="nb-NO" sz="1600" b="0" u="none">
                          <a:solidFill>
                            <a:schemeClr val="tx1"/>
                          </a:solidFill>
                        </a:rPr>
                        <a:t>systeminnføring</a:t>
                      </a:r>
                      <a:endParaRPr lang="nb-NO" sz="1600" b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864994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- </a:t>
                      </a:r>
                      <a:r>
                        <a:rPr lang="nb-NO" sz="1600" b="0" u="none">
                          <a:solidFill>
                            <a:schemeClr val="tx1"/>
                          </a:solidFill>
                        </a:rPr>
                        <a:t>prosessgjennomgang</a:t>
                      </a:r>
                      <a:endParaRPr lang="nb-NO" sz="1600" b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770477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en-US" sz="1600" b="0" i="0" u="none" kern="120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ganisasjonsprosesser</a:t>
                      </a:r>
                      <a:endParaRPr lang="nb-NO" sz="16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1191049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Pause (09.10 - 09.15)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043672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Spørsmål og 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 i="0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va vil dette kreve av oss?</a:t>
                      </a:r>
                      <a:endParaRPr lang="nb-NO" sz="1600" b="1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146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Avrunding og veien vider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465617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8FD54E3-8628-40F6-9F22-11E5B0CE74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5067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1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8FD54E3-8628-40F6-9F22-11E5B0CE7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0818B87-43DB-4323-8E94-6FBE7CB8B3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40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 descr="A picture containing sky, outdoor, city, day&#10;&#10;Description automatically generated">
            <a:extLst>
              <a:ext uri="{FF2B5EF4-FFF2-40B4-BE49-F238E27FC236}">
                <a16:creationId xmlns:a16="http://schemas.microsoft.com/office/drawing/2014/main" id="{52062B21-09FA-4F57-9D4B-BD4418606D7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52000"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361367" y="-342267"/>
            <a:ext cx="12572417" cy="72193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CC9085-FFFE-4929-9947-31A340DAE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1842860"/>
            <a:ext cx="11224996" cy="3172280"/>
          </a:xfrm>
        </p:spPr>
        <p:txBody>
          <a:bodyPr/>
          <a:lstStyle/>
          <a:p>
            <a:r>
              <a:rPr lang="nb-NO" sz="8000">
                <a:solidFill>
                  <a:schemeClr val="bg1"/>
                </a:solidFill>
              </a:rPr>
              <a:t>Hva vil dette kreve av oss?</a:t>
            </a:r>
            <a:br>
              <a:rPr lang="nb-NO" sz="8000" b="0" i="1">
                <a:solidFill>
                  <a:schemeClr val="bg1"/>
                </a:solidFill>
              </a:rPr>
            </a:br>
            <a:r>
              <a:rPr lang="nb-NO" sz="4000" b="0" i="1">
                <a:solidFill>
                  <a:schemeClr val="bg1"/>
                </a:solidFill>
              </a:rPr>
              <a:t>Gå inn på menti.com og bruk koden </a:t>
            </a:r>
            <a:r>
              <a:rPr lang="nb-NO" sz="4000" b="0">
                <a:solidFill>
                  <a:schemeClr val="bg1"/>
                </a:solidFill>
              </a:rPr>
              <a:t>96 73 20 0</a:t>
            </a:r>
            <a:endParaRPr lang="nb-NO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6481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9047818"/>
              </p:ext>
            </p:extLst>
          </p:nvPr>
        </p:nvGraphicFramePr>
        <p:xfrm>
          <a:off x="401847" y="1211668"/>
          <a:ext cx="5414753" cy="51206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146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Forventninger til Kick-off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251633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Prosjektorganisering og kort status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969310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/>
                        <a:t>Overordnet fremdriftspla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83103521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Hva skjer innen:</a:t>
                      </a:r>
                      <a:endParaRPr lang="nb-NO" sz="1600" u="sng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685635847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- økonomimode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6483625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- BEVISS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6605733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/>
                        <a:t>- </a:t>
                      </a:r>
                      <a:r>
                        <a:rPr lang="nb-NO" sz="1600" u="none"/>
                        <a:t>systeminnførin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38864994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- </a:t>
                      </a:r>
                      <a:r>
                        <a:rPr lang="nb-NO" sz="1600" u="none"/>
                        <a:t>prosessgjennomgan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40770477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en-US" sz="1600" b="0" i="0" u="non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ganisasjonsprosesser</a:t>
                      </a:r>
                      <a:endParaRPr lang="nb-NO" sz="16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451191049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Pause (09.10 - 09.15)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7043672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va vil dette kreve av oss?</a:t>
                      </a: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Avrunding og veien vider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661BF79C-502F-4F81-96D6-71B28749ACE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6495" r="-1"/>
          <a:stretch/>
        </p:blipFill>
        <p:spPr>
          <a:xfrm>
            <a:off x="6686550" y="0"/>
            <a:ext cx="5505450" cy="6858000"/>
          </a:xfrm>
          <a:prstGeom prst="snip2DiagRect">
            <a:avLst>
              <a:gd name="adj1" fmla="val 33218"/>
              <a:gd name="adj2" fmla="val 0"/>
            </a:avLst>
          </a:prstGeom>
        </p:spPr>
      </p:pic>
    </p:spTree>
    <p:extLst>
      <p:ext uri="{BB962C8B-B14F-4D97-AF65-F5344CB8AC3E}">
        <p14:creationId xmlns:p14="http://schemas.microsoft.com/office/powerpoint/2010/main" val="397230107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144751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1BF79C-502F-4F81-96D6-71B28749ACE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6495" r="-1"/>
          <a:stretch/>
        </p:blipFill>
        <p:spPr>
          <a:xfrm>
            <a:off x="6686550" y="0"/>
            <a:ext cx="5505450" cy="6858000"/>
          </a:xfrm>
          <a:prstGeom prst="snip2DiagRect">
            <a:avLst>
              <a:gd name="adj1" fmla="val 33218"/>
              <a:gd name="adj2" fmla="val 0"/>
            </a:avLst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9FC920B-761B-45F9-B376-BCA0DCD1E6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7289627"/>
              </p:ext>
            </p:extLst>
          </p:nvPr>
        </p:nvGraphicFramePr>
        <p:xfrm>
          <a:off x="401847" y="1211668"/>
          <a:ext cx="5414753" cy="51206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Forventninger til Kick-</a:t>
                      </a:r>
                      <a:r>
                        <a:rPr lang="nb-NO" sz="1600" err="1">
                          <a:solidFill>
                            <a:schemeClr val="tx1"/>
                          </a:solidFill>
                        </a:rPr>
                        <a:t>off</a:t>
                      </a:r>
                      <a:endParaRPr lang="nb-NO" sz="160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251633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Prosjektorganisering og kort status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969310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/>
                        <a:t>Overordnet fremdriftspla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83103521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Hva skjer innen:</a:t>
                      </a:r>
                      <a:endParaRPr lang="nb-NO" sz="1600" b="0" u="sng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5635847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- økonomimode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6483625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u="none">
                          <a:solidFill>
                            <a:schemeClr val="tx1"/>
                          </a:solidFill>
                        </a:rPr>
                        <a:t>- BEVISS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05733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- </a:t>
                      </a:r>
                      <a:r>
                        <a:rPr lang="nb-NO" sz="1600" b="0" u="none">
                          <a:solidFill>
                            <a:schemeClr val="tx1"/>
                          </a:solidFill>
                        </a:rPr>
                        <a:t>systeminnføring</a:t>
                      </a:r>
                      <a:endParaRPr lang="nb-NO" sz="1600" b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864994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- </a:t>
                      </a:r>
                      <a:r>
                        <a:rPr lang="nb-NO" sz="1600" b="0" u="none">
                          <a:solidFill>
                            <a:schemeClr val="tx1"/>
                          </a:solidFill>
                        </a:rPr>
                        <a:t>prosessgjennomgang</a:t>
                      </a:r>
                      <a:endParaRPr lang="nb-NO" sz="1600" b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770477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en-US" sz="1600" b="0" i="0" u="none" kern="120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ganisasjonsprosesser</a:t>
                      </a:r>
                      <a:endParaRPr lang="nb-NO" sz="16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1191049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Pause (09.10 - 09.15)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043672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Spørsmål og 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va vil dette kreve av oss?</a:t>
                      </a:r>
                      <a:endParaRPr lang="nb-NO" sz="1600" b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Avrunding og veien vider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146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876729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 descr="Et bilde som inneholder himmel, utendørs, vann, scene&#10;&#10;Automatisk generert beskrivelse">
            <a:extLst>
              <a:ext uri="{FF2B5EF4-FFF2-40B4-BE49-F238E27FC236}">
                <a16:creationId xmlns:a16="http://schemas.microsoft.com/office/drawing/2014/main" id="{432E9A53-B770-498E-AA91-8C339063FA2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1008" b="4684"/>
          <a:stretch/>
        </p:blipFill>
        <p:spPr>
          <a:xfrm>
            <a:off x="-76200" y="-70742"/>
            <a:ext cx="12306300" cy="7030342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AA26C78-6CBB-4AFE-B295-A1A4AF76D6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7119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AA26C78-6CBB-4AFE-B295-A1A4AF76D6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7DF849A-272F-4B6E-9300-93F212DD7E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>
                <a:solidFill>
                  <a:schemeClr val="bg1"/>
                </a:solidFill>
              </a:rPr>
              <a:t>Avrunding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F93326F-A7C2-4F49-8601-58D0C4166FEB}"/>
              </a:ext>
            </a:extLst>
          </p:cNvPr>
          <p:cNvGrpSpPr/>
          <p:nvPr/>
        </p:nvGrpSpPr>
        <p:grpSpPr>
          <a:xfrm>
            <a:off x="838200" y="1909762"/>
            <a:ext cx="10201275" cy="3038475"/>
            <a:chOff x="838200" y="1909762"/>
            <a:chExt cx="10201275" cy="3038475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31D2DF8B-97BB-4826-84D3-F5F8914635F5}"/>
                </a:ext>
              </a:extLst>
            </p:cNvPr>
            <p:cNvSpPr/>
            <p:nvPr/>
          </p:nvSpPr>
          <p:spPr>
            <a:xfrm>
              <a:off x="838200" y="1909762"/>
              <a:ext cx="3038475" cy="3038475"/>
            </a:xfrm>
            <a:prstGeom prst="ellipse">
              <a:avLst/>
            </a:prstGeom>
            <a:solidFill>
              <a:srgbClr val="014693">
                <a:alpha val="74902"/>
              </a:srgbClr>
            </a:solidFill>
            <a:ln w="76200">
              <a:solidFill>
                <a:schemeClr val="bg1"/>
              </a:solidFill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2400"/>
                <a:t>Hva skjer nå?</a:t>
              </a: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E522CC18-78B9-4776-816D-09F2CCD04A18}"/>
                </a:ext>
              </a:extLst>
            </p:cNvPr>
            <p:cNvSpPr/>
            <p:nvPr/>
          </p:nvSpPr>
          <p:spPr>
            <a:xfrm>
              <a:off x="4419600" y="1909762"/>
              <a:ext cx="3038475" cy="3038475"/>
            </a:xfrm>
            <a:prstGeom prst="ellipse">
              <a:avLst/>
            </a:prstGeom>
            <a:solidFill>
              <a:srgbClr val="014693">
                <a:alpha val="74902"/>
              </a:srgbClr>
            </a:solidFill>
            <a:ln w="76200">
              <a:solidFill>
                <a:schemeClr val="bg1"/>
              </a:solidFill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2400"/>
                <a:t>Hvordan vil vi holde dere oppdatert?</a:t>
              </a: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CAB96784-3DC0-4BDD-A05A-9ACC2FA19310}"/>
                </a:ext>
              </a:extLst>
            </p:cNvPr>
            <p:cNvSpPr/>
            <p:nvPr/>
          </p:nvSpPr>
          <p:spPr>
            <a:xfrm>
              <a:off x="8001000" y="1909762"/>
              <a:ext cx="3038475" cy="3038475"/>
            </a:xfrm>
            <a:prstGeom prst="ellipse">
              <a:avLst/>
            </a:prstGeom>
            <a:solidFill>
              <a:srgbClr val="014693">
                <a:alpha val="74902"/>
              </a:srgbClr>
            </a:solidFill>
            <a:ln w="76200">
              <a:solidFill>
                <a:schemeClr val="bg1"/>
              </a:solidFill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2400"/>
                <a:t>Hva blir viktig videre?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1026457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0110BA8-C3BB-422D-B67C-2B0B953A5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1826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0110BA8-C3BB-422D-B67C-2B0B953A5E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1D1DCB1-FFAC-45FB-8CF6-A7E888DC0D5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7F23DCD-5BDB-4CA1-982D-79D817B136D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1522"/>
          <a:stretch/>
        </p:blipFill>
        <p:spPr>
          <a:xfrm>
            <a:off x="6096000" y="1568308"/>
            <a:ext cx="5974384" cy="356167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A9D7A83-586C-4B2D-AA54-B7D6A6709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33178"/>
          </a:xfrm>
        </p:spPr>
        <p:txBody>
          <a:bodyPr/>
          <a:lstStyle/>
          <a:p>
            <a:r>
              <a:rPr lang="nb-NO"/>
              <a:t>Lurer du på no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482D91-8D30-4B1A-88CD-ECF831F7D2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2668436"/>
            <a:ext cx="6084678" cy="1521128"/>
          </a:xfrm>
        </p:spPr>
        <p:txBody>
          <a:bodyPr/>
          <a:lstStyle/>
          <a:p>
            <a:pPr marL="0" indent="0">
              <a:buNone/>
            </a:pPr>
            <a:r>
              <a:rPr lang="nb-NO" sz="5400" b="1">
                <a:solidFill>
                  <a:schemeClr val="tx2"/>
                </a:solidFill>
              </a:rPr>
              <a:t>s.ntnu.no/bott-ol </a:t>
            </a:r>
          </a:p>
          <a:p>
            <a:pPr marL="0" indent="0">
              <a:buNone/>
            </a:pPr>
            <a:r>
              <a:rPr lang="nb-NO" sz="2800" i="1"/>
              <a:t>Her har vi samlet informasjon, linker og kontaktinformasjon fra prosjektet</a:t>
            </a:r>
          </a:p>
        </p:txBody>
      </p:sp>
    </p:spTree>
    <p:extLst>
      <p:ext uri="{BB962C8B-B14F-4D97-AF65-F5344CB8AC3E}">
        <p14:creationId xmlns:p14="http://schemas.microsoft.com/office/powerpoint/2010/main" val="34379031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530696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6000" b="1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DCE277D5-2E95-412E-B4E5-C40575AEA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1087" y="2921169"/>
            <a:ext cx="10363200" cy="1015663"/>
          </a:xfrm>
        </p:spPr>
        <p:txBody>
          <a:bodyPr/>
          <a:lstStyle/>
          <a:p>
            <a:r>
              <a:rPr lang="nb-NO" sz="6000"/>
              <a:t>Takk for i dag!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1FF19F1-B29A-4DA1-A3DB-5C69970DA29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3852" b="11166"/>
          <a:stretch/>
        </p:blipFill>
        <p:spPr>
          <a:xfrm>
            <a:off x="6096000" y="0"/>
            <a:ext cx="6096000" cy="6858000"/>
          </a:xfrm>
          <a:prstGeom prst="snip2DiagRect">
            <a:avLst>
              <a:gd name="adj1" fmla="val 0"/>
              <a:gd name="adj2" fmla="val 28229"/>
            </a:avLst>
          </a:prstGeom>
        </p:spPr>
      </p:pic>
    </p:spTree>
    <p:extLst>
      <p:ext uri="{BB962C8B-B14F-4D97-AF65-F5344CB8AC3E}">
        <p14:creationId xmlns:p14="http://schemas.microsoft.com/office/powerpoint/2010/main" val="26974914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7581CF-8C53-4AC5-8B22-D7975B05AF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6692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7581CF-8C53-4AC5-8B22-D7975B05A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BC1A2CD0-7661-41F8-AF6E-137A75400F3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1008" b="4684"/>
          <a:stretch/>
        </p:blipFill>
        <p:spPr>
          <a:xfrm>
            <a:off x="-76200" y="-70742"/>
            <a:ext cx="12306300" cy="7030342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424BD437-5482-4E6E-B4BD-A66CC40C0166}"/>
              </a:ext>
            </a:extLst>
          </p:cNvPr>
          <p:cNvGrpSpPr/>
          <p:nvPr/>
        </p:nvGrpSpPr>
        <p:grpSpPr>
          <a:xfrm>
            <a:off x="838200" y="1909762"/>
            <a:ext cx="10201275" cy="3038475"/>
            <a:chOff x="838200" y="1909762"/>
            <a:chExt cx="10201275" cy="3038475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B429D649-786D-4797-B372-482C6E46BA13}"/>
                </a:ext>
              </a:extLst>
            </p:cNvPr>
            <p:cNvSpPr/>
            <p:nvPr/>
          </p:nvSpPr>
          <p:spPr>
            <a:xfrm>
              <a:off x="838200" y="1909762"/>
              <a:ext cx="3038475" cy="3038475"/>
            </a:xfrm>
            <a:prstGeom prst="ellipse">
              <a:avLst/>
            </a:prstGeom>
            <a:solidFill>
              <a:srgbClr val="014693">
                <a:alpha val="74902"/>
              </a:srgbClr>
            </a:solidFill>
            <a:ln w="76200">
              <a:solidFill>
                <a:schemeClr val="bg1"/>
              </a:solidFill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2400"/>
                <a:t>Hvem er her i dag?</a:t>
              </a: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93855895-7964-42DB-A29A-0458B78816BE}"/>
                </a:ext>
              </a:extLst>
            </p:cNvPr>
            <p:cNvSpPr/>
            <p:nvPr/>
          </p:nvSpPr>
          <p:spPr>
            <a:xfrm>
              <a:off x="4419600" y="1909762"/>
              <a:ext cx="3038475" cy="3038475"/>
            </a:xfrm>
            <a:prstGeom prst="ellipse">
              <a:avLst/>
            </a:prstGeom>
            <a:solidFill>
              <a:srgbClr val="014693">
                <a:alpha val="74902"/>
              </a:srgbClr>
            </a:solidFill>
            <a:ln w="76200">
              <a:solidFill>
                <a:schemeClr val="bg1"/>
              </a:solidFill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2400"/>
                <a:t>Hva ønsker vi at </a:t>
              </a:r>
              <a:r>
                <a:rPr lang="nb-NO" sz="2400" b="1"/>
                <a:t>dere</a:t>
              </a:r>
              <a:r>
                <a:rPr lang="nb-NO" sz="2400"/>
                <a:t> får ut av dagen?</a:t>
              </a: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1CA646AE-56F1-461E-901D-2298CC400E2C}"/>
                </a:ext>
              </a:extLst>
            </p:cNvPr>
            <p:cNvSpPr/>
            <p:nvPr/>
          </p:nvSpPr>
          <p:spPr>
            <a:xfrm>
              <a:off x="8001000" y="1909762"/>
              <a:ext cx="3038475" cy="3038475"/>
            </a:xfrm>
            <a:prstGeom prst="ellipse">
              <a:avLst/>
            </a:prstGeom>
            <a:solidFill>
              <a:srgbClr val="014693">
                <a:alpha val="74902"/>
              </a:srgbClr>
            </a:solidFill>
            <a:ln w="76200">
              <a:solidFill>
                <a:schemeClr val="bg1"/>
              </a:solidFill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2400"/>
                <a:t>Hva ønsker vi som </a:t>
              </a:r>
              <a:r>
                <a:rPr lang="nb-NO" sz="2400" b="1"/>
                <a:t>prosjekt</a:t>
              </a:r>
              <a:r>
                <a:rPr lang="nb-NO" sz="2400"/>
                <a:t> å få ut av dagen?</a:t>
              </a:r>
            </a:p>
          </p:txBody>
        </p:sp>
      </p:grpSp>
      <p:sp>
        <p:nvSpPr>
          <p:cNvPr id="8" name="Title 7">
            <a:extLst>
              <a:ext uri="{FF2B5EF4-FFF2-40B4-BE49-F238E27FC236}">
                <a16:creationId xmlns:a16="http://schemas.microsoft.com/office/drawing/2014/main" id="{D7614109-54E3-4996-B88C-A2913122C0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015663"/>
          </a:xfrm>
        </p:spPr>
        <p:txBody>
          <a:bodyPr/>
          <a:lstStyle/>
          <a:p>
            <a:r>
              <a:rPr lang="nb-NO" sz="6000">
                <a:solidFill>
                  <a:schemeClr val="bg1"/>
                </a:solidFill>
              </a:rPr>
              <a:t>Velkommen!</a:t>
            </a:r>
          </a:p>
        </p:txBody>
      </p:sp>
    </p:spTree>
    <p:extLst>
      <p:ext uri="{BB962C8B-B14F-4D97-AF65-F5344CB8AC3E}">
        <p14:creationId xmlns:p14="http://schemas.microsoft.com/office/powerpoint/2010/main" val="35437900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616620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1BF79C-502F-4F81-96D6-71B28749ACE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6495" r="-1"/>
          <a:stretch/>
        </p:blipFill>
        <p:spPr>
          <a:xfrm>
            <a:off x="6686550" y="0"/>
            <a:ext cx="5505450" cy="6858000"/>
          </a:xfrm>
          <a:prstGeom prst="snip2DiagRect">
            <a:avLst>
              <a:gd name="adj1" fmla="val 33218"/>
              <a:gd name="adj2" fmla="val 0"/>
            </a:avLst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CCC6AE51-6652-4CA3-80BF-8C83A44CB9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034794"/>
              </p:ext>
            </p:extLst>
          </p:nvPr>
        </p:nvGraphicFramePr>
        <p:xfrm>
          <a:off x="401847" y="1211668"/>
          <a:ext cx="5414753" cy="51206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Forventninger til Kick-</a:t>
                      </a:r>
                      <a:r>
                        <a:rPr lang="nb-NO" sz="1600" b="1" err="1">
                          <a:solidFill>
                            <a:schemeClr val="bg1"/>
                          </a:solidFill>
                        </a:rPr>
                        <a:t>off</a:t>
                      </a:r>
                      <a:endParaRPr lang="nb-NO" sz="1600" b="1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251633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Prosjektorganisering og kort status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969310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/>
                        <a:t>Overordnet fremdriftspla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83103521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Hva skjer innen:</a:t>
                      </a:r>
                      <a:endParaRPr lang="nb-NO" sz="1600" u="sng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685635847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- økonomimode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6483625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- BEVISS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6605733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/>
                        <a:t>- </a:t>
                      </a:r>
                      <a:r>
                        <a:rPr lang="nb-NO" sz="1600" u="none"/>
                        <a:t>systeminnførin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38864994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- </a:t>
                      </a:r>
                      <a:r>
                        <a:rPr lang="nb-NO" sz="1600" u="none"/>
                        <a:t>prosessgjennomgan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40770477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en-US" sz="1600" b="0" i="0" u="none" kern="120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ganisasjonsprosesser</a:t>
                      </a:r>
                      <a:endParaRPr lang="nb-NO" sz="16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451191049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Pause (09.10 - 09.15)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7043672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va vil dette kreve av oss?</a:t>
                      </a: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Avrunding og veien vider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144267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8FD54E3-8628-40F6-9F22-11E5B0CE74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0772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8FD54E3-8628-40F6-9F22-11E5B0CE7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0818B87-43DB-4323-8E94-6FBE7CB8B3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40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 descr="A picture containing sky, outdoor, city, day&#10;&#10;Description automatically generated">
            <a:extLst>
              <a:ext uri="{FF2B5EF4-FFF2-40B4-BE49-F238E27FC236}">
                <a16:creationId xmlns:a16="http://schemas.microsoft.com/office/drawing/2014/main" id="{52062B21-09FA-4F57-9D4B-BD4418606D7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52000"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361367" y="-342267"/>
            <a:ext cx="12572417" cy="72193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CC9085-FFFE-4929-9947-31A340DAE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1842860"/>
            <a:ext cx="11224996" cy="3172280"/>
          </a:xfrm>
        </p:spPr>
        <p:txBody>
          <a:bodyPr/>
          <a:lstStyle/>
          <a:p>
            <a:r>
              <a:rPr lang="nb-NO" sz="8000">
                <a:solidFill>
                  <a:schemeClr val="bg1"/>
                </a:solidFill>
              </a:rPr>
              <a:t>Hva forventer du å få ut av disse to timene?</a:t>
            </a:r>
            <a:br>
              <a:rPr lang="nb-NO" b="0" i="1">
                <a:solidFill>
                  <a:schemeClr val="bg1"/>
                </a:solidFill>
              </a:rPr>
            </a:br>
            <a:r>
              <a:rPr lang="nb-NO" sz="4000" b="0" i="1">
                <a:solidFill>
                  <a:schemeClr val="bg1"/>
                </a:solidFill>
              </a:rPr>
              <a:t>Gå inn på menti.com og bruk koden </a:t>
            </a:r>
            <a:r>
              <a:rPr lang="nb-NO" sz="4000" b="0">
                <a:solidFill>
                  <a:schemeClr val="bg1"/>
                </a:solidFill>
              </a:rPr>
              <a:t>96 73 20 0</a:t>
            </a:r>
            <a:endParaRPr lang="nb-NO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0453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1BF79C-502F-4F81-96D6-71B28749ACE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6495" r="-1"/>
          <a:stretch/>
        </p:blipFill>
        <p:spPr>
          <a:xfrm>
            <a:off x="6686550" y="0"/>
            <a:ext cx="5505450" cy="6858000"/>
          </a:xfrm>
          <a:prstGeom prst="snip2DiagRect">
            <a:avLst>
              <a:gd name="adj1" fmla="val 33218"/>
              <a:gd name="adj2" fmla="val 0"/>
            </a:avLst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4BCCEAC-8DBC-4E3D-9495-6D877D7597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669722"/>
              </p:ext>
            </p:extLst>
          </p:nvPr>
        </p:nvGraphicFramePr>
        <p:xfrm>
          <a:off x="401847" y="1211668"/>
          <a:ext cx="5414753" cy="512064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Forventninger til Kick-</a:t>
                      </a:r>
                      <a:r>
                        <a:rPr lang="nb-NO" sz="1600" err="1">
                          <a:solidFill>
                            <a:schemeClr val="tx1"/>
                          </a:solidFill>
                        </a:rPr>
                        <a:t>off</a:t>
                      </a:r>
                      <a:endParaRPr lang="nb-NO" sz="160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251633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Prosjektorganisering og kort status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969310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/>
                        <a:t>Overordnet fremdriftspla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83103521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Hva skjer innen:</a:t>
                      </a:r>
                      <a:endParaRPr lang="nb-NO" sz="1600" u="sng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685635847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- økonomimode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6483625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- BEVISS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6605733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/>
                        <a:t>- </a:t>
                      </a:r>
                      <a:r>
                        <a:rPr lang="nb-NO" sz="1600" u="none"/>
                        <a:t>systeminnførin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38864994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- </a:t>
                      </a:r>
                      <a:r>
                        <a:rPr lang="nb-NO" sz="1600" u="none"/>
                        <a:t>prosessgjennomgan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40770477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en-US" sz="1600" b="0" i="0" u="none" kern="120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ganisasjonsprosesser</a:t>
                      </a:r>
                      <a:endParaRPr lang="nb-NO" sz="16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451191049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Pause (09.10 - 09.15)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70436728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Spørsmål og 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va vil dette kreve av oss?</a:t>
                      </a: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4820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Avrunding og veien vider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74075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04E43F7-737C-4F88-B874-CFAFAAA151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8865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04E43F7-737C-4F88-B874-CFAFAAA151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538F22B-19CB-485B-8067-4B7396D385D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643B36-F0C9-40B8-80F0-235120080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Før vi begynner med presentasjone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4E40D6-F203-4694-9A83-40386B190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6087443" cy="4818365"/>
          </a:xfrm>
        </p:spPr>
        <p:txBody>
          <a:bodyPr vert="horz" lIns="90000" tIns="46800" rIns="90000" bIns="46800" rtlCol="0" anchor="t">
            <a:noAutofit/>
          </a:bodyPr>
          <a:lstStyle/>
          <a:p>
            <a:pPr marL="456565" indent="-456565"/>
            <a:r>
              <a:rPr lang="nb-NO" sz="2400"/>
              <a:t>Vi vil oppfordre til at du </a:t>
            </a:r>
            <a:r>
              <a:rPr lang="nb-NO" sz="2400" b="1"/>
              <a:t>noterer ned spørsmål du kommer på underveis</a:t>
            </a:r>
            <a:r>
              <a:rPr lang="nb-NO" sz="2400"/>
              <a:t>, enten direkte på menti.com med samme kode som sist (96 73 20 0) eller for deg selv og senere inn i </a:t>
            </a:r>
            <a:r>
              <a:rPr lang="nb-NO" sz="2400" err="1"/>
              <a:t>Mentimeter</a:t>
            </a:r>
            <a:r>
              <a:rPr lang="nb-NO" sz="2400"/>
              <a:t>.</a:t>
            </a:r>
            <a:endParaRPr lang="nb-NO"/>
          </a:p>
          <a:p>
            <a:pPr marL="456565" indent="-456565"/>
            <a:r>
              <a:rPr lang="nb-NO" sz="2400"/>
              <a:t>Vi vil bruke </a:t>
            </a:r>
            <a:r>
              <a:rPr lang="nb-NO" sz="2400" err="1"/>
              <a:t>Mentimeter</a:t>
            </a:r>
            <a:r>
              <a:rPr lang="nb-NO" sz="2400"/>
              <a:t> for å stille og stemme frem spørsmål (de du også vil ha svar på) og strukturere spørsmål og svar-runden slik at vi her får svart på de spørsmålene flest lurer på (og så vil vi svare på alle andre i etterkant)</a:t>
            </a:r>
          </a:p>
        </p:txBody>
      </p:sp>
      <p:pic>
        <p:nvPicPr>
          <p:cNvPr id="7" name="Picture 6" descr="A picture containing sky, outdoor, mountain&#10;&#10;Description automatically generated">
            <a:extLst>
              <a:ext uri="{FF2B5EF4-FFF2-40B4-BE49-F238E27FC236}">
                <a16:creationId xmlns:a16="http://schemas.microsoft.com/office/drawing/2014/main" id="{A8C84434-896F-4A0E-8201-BE0F658257C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4242" r="758"/>
          <a:stretch/>
        </p:blipFill>
        <p:spPr>
          <a:xfrm>
            <a:off x="7063248" y="1262468"/>
            <a:ext cx="4487197" cy="44871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0712743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Cvorc.bVWWVkuU3Fuo7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H2b_BDQlhtTGwRJSAaw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qzYfMFdyCGieLLSoQFS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BLernNYXP839IhSzIz1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zX35mMMV9CB.faYkEw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zX35mMMV9CB.faYkEw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ME2AsIbsqcsXmCWtHV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2_Iv4EU6dwcSUZv7vJ7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nGmOHV4_Vhnt9iKYNsf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zX35mMMV9CB.faYkEw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Tj2hPFIwTvtUdb4h9iB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shLOCLkTDtdFw8ApM_6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2nc0QvwiZ3znuOrOGd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Cvorc.bVWWVkuU3Fuo7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rf_C9RMrFoTTnZf5LU8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heme/theme1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16_9" id="{85FF4AD1-7FE2-7C44-B48B-6970A3AAF856}" vid="{2428F606-780E-0346-BA3B-59B224E3FCC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TemplafySlideFormConfiguration><![CDATA[{"formFields":[],"formDataEntries":[]}]]></TemplafySlideFormConfiguration>
</file>

<file path=customXml/item11.xml><?xml version="1.0" encoding="utf-8"?>
<TemplafySlideTemplateConfiguration><![CDATA[{"documentContentValidatorConfiguration":{"enableDocumentContentValidator":false,"documentContentValidatorVersion":0},"elementsMetadata":[],"slideId":"637274689482113909","enableDocumentContentUpdater":true,"version":"1.1"}]]></TemplafySlideTemplateConfiguration>
</file>

<file path=customXml/item12.xml><?xml version="1.0" encoding="utf-8"?>
<TemplafySlideTemplateConfiguration><![CDATA[{"documentContentValidatorConfiguration":{"enableDocumentContentValidator":false,"documentContentValidatorVersion":0},"elementsMetadata":[],"slideId":"637274689481644962","enableDocumentContentUpdater":true,"version":"1.1"}]]></TemplafySlideTemplateConfiguration>
</file>

<file path=customXml/item13.xml><?xml version="1.0" encoding="utf-8"?>
<TemplafySlideFormConfiguration><![CDATA[{"formFields":[],"formDataEntries":[]}]]></TemplafySlideFormConfiguration>
</file>

<file path=customXml/item14.xml><?xml version="1.0" encoding="utf-8"?>
<TemplafySlideTemplateConfiguration><![CDATA[{"documentContentValidatorConfiguration":{"enableDocumentContentValidator":false,"documentContentValidatorVersion":0},"elementsMetadata":[],"slideId":"637274689481644961","enableDocumentContentUpdater":true,"version":"1.1"}]]></TemplafySlideTemplateConfiguration>
</file>

<file path=customXml/item1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D5007D4960C04FABF7CEA7C1807523" ma:contentTypeVersion="11" ma:contentTypeDescription="Create a new document." ma:contentTypeScope="" ma:versionID="e5cc35c2b93ef9b5cbd271e6acbabea2">
  <xsd:schema xmlns:xsd="http://www.w3.org/2001/XMLSchema" xmlns:xs="http://www.w3.org/2001/XMLSchema" xmlns:p="http://schemas.microsoft.com/office/2006/metadata/properties" xmlns:ns2="92f31348-0739-4467-8087-a9e650b26e61" xmlns:ns3="5a015d52-1a8c-45a9-b108-712092158594" targetNamespace="http://schemas.microsoft.com/office/2006/metadata/properties" ma:root="true" ma:fieldsID="f2ce806dfeefec15707a3ae1b2745845" ns2:_="" ns3:_="">
    <xsd:import namespace="92f31348-0739-4467-8087-a9e650b26e61"/>
    <xsd:import namespace="5a015d52-1a8c-45a9-b108-7120921585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f31348-0739-4467-8087-a9e650b26e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15d52-1a8c-45a9-b108-71209215859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6.xml><?xml version="1.0" encoding="utf-8"?>
<TemplafySlideTemplateConfiguration><![CDATA[{"documentContentValidatorConfiguration":{"enableDocumentContentValidator":false,"documentContentValidatorVersion":0},"elementsMetadata":[],"slideId":"637274689482285485","enableDocumentContentUpdater":true,"version":"1.1"}]]></TemplafySlideTemplateConfiguration>
</file>

<file path=customXml/item1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TemplafyFormConfiguration><![CDATA[{"formFields":[{"dataSource":"Audience","displayColumn":"audience","hideIfNoUserInteractionRequired":false,"distinct":true,"required":true,"autoSelectFirstOption":false,"type":"dropDown","name":"Audience","label":"External/internal","helpTexts":{"prefix":"","postfix":""},"spacing":{},"fullyQualifiedName":"Audience"}],"formDataEntries":[]}]]></TemplafyFormConfiguration>
</file>

<file path=customXml/item3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4.xml><?xml version="1.0" encoding="utf-8"?>
<TemplafySlideFormConfiguration><![CDATA[{"formFields":[],"formDataEntries":[]}]]></TemplafySlideFormConfiguration>
</file>

<file path=customXml/item5.xml><?xml version="1.0" encoding="utf-8"?>
<TemplafySlideFormConfiguration><![CDATA[{"formFields":[],"formDataEntries":[]}]]></TemplafySlideFormConfiguration>
</file>

<file path=customXml/item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TemplateConfiguration><![CDATA[{"elementsMetadata":[],"transformationConfigurations":[{"language":"{{UserProfile.DocumentLanguage.Iana}}","disableUpdates":false,"type":"proofingLanguage"}],"templateName":"Presentation screen (16-9)","templateDescription":"","enableDocumentContentUpdater":true,"version":"1.1"}]]></TemplafyTemplateConfiguration>
</file>

<file path=customXml/item9.xml><?xml version="1.0" encoding="utf-8"?>
<TemplafySlideTemplateConfiguration><![CDATA[{"documentContentValidatorConfiguration":{"enableDocumentContentValidator":false,"documentContentValidatorVersion":0},"elementsMetadata":[],"slideId":"637274689481801232","enableDocumentContentUpdater":true,"version":"1.1"}]]></TemplafySlideTemplateConfiguration>
</file>

<file path=customXml/itemProps1.xml><?xml version="1.0" encoding="utf-8"?>
<ds:datastoreItem xmlns:ds="http://schemas.openxmlformats.org/officeDocument/2006/customXml" ds:itemID="{74DD7968-5338-4A7C-9AB7-71E317FAD14A}">
  <ds:schemaRefs/>
</ds:datastoreItem>
</file>

<file path=customXml/itemProps10.xml><?xml version="1.0" encoding="utf-8"?>
<ds:datastoreItem xmlns:ds="http://schemas.openxmlformats.org/officeDocument/2006/customXml" ds:itemID="{A010FBFC-ED9D-4776-849D-81EABF9D112A}">
  <ds:schemaRefs/>
</ds:datastoreItem>
</file>

<file path=customXml/itemProps11.xml><?xml version="1.0" encoding="utf-8"?>
<ds:datastoreItem xmlns:ds="http://schemas.openxmlformats.org/officeDocument/2006/customXml" ds:itemID="{8F10D2E3-BD5E-41A7-9B58-448C4704E426}">
  <ds:schemaRefs/>
</ds:datastoreItem>
</file>

<file path=customXml/itemProps12.xml><?xml version="1.0" encoding="utf-8"?>
<ds:datastoreItem xmlns:ds="http://schemas.openxmlformats.org/officeDocument/2006/customXml" ds:itemID="{4212848C-530B-4852-8730-679B69C20DA2}">
  <ds:schemaRefs/>
</ds:datastoreItem>
</file>

<file path=customXml/itemProps13.xml><?xml version="1.0" encoding="utf-8"?>
<ds:datastoreItem xmlns:ds="http://schemas.openxmlformats.org/officeDocument/2006/customXml" ds:itemID="{EE03465F-F7D7-4591-B744-AA3FB7C55319}">
  <ds:schemaRefs/>
</ds:datastoreItem>
</file>

<file path=customXml/itemProps14.xml><?xml version="1.0" encoding="utf-8"?>
<ds:datastoreItem xmlns:ds="http://schemas.openxmlformats.org/officeDocument/2006/customXml" ds:itemID="{01E8759C-33B8-4AFE-B1FD-690677E2D93B}">
  <ds:schemaRefs/>
</ds:datastoreItem>
</file>

<file path=customXml/itemProps15.xml><?xml version="1.0" encoding="utf-8"?>
<ds:datastoreItem xmlns:ds="http://schemas.openxmlformats.org/officeDocument/2006/customXml" ds:itemID="{616C95E1-4A24-4A51-A357-3EBA0780422C}">
  <ds:schemaRefs>
    <ds:schemaRef ds:uri="5a015d52-1a8c-45a9-b108-712092158594"/>
    <ds:schemaRef ds:uri="92f31348-0739-4467-8087-a9e650b26e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6.xml><?xml version="1.0" encoding="utf-8"?>
<ds:datastoreItem xmlns:ds="http://schemas.openxmlformats.org/officeDocument/2006/customXml" ds:itemID="{D095A0A8-BBFC-46BD-B6C9-F9F771063A0C}">
  <ds:schemaRefs/>
</ds:datastoreItem>
</file>

<file path=customXml/itemProps17.xml><?xml version="1.0" encoding="utf-8"?>
<ds:datastoreItem xmlns:ds="http://schemas.openxmlformats.org/officeDocument/2006/customXml" ds:itemID="{BA05E49B-70B5-4FEC-89D5-F69F52BE5B81}">
  <ds:schemaRefs>
    <ds:schemaRef ds:uri="5a015d52-1a8c-45a9-b108-712092158594"/>
    <ds:schemaRef ds:uri="92f31348-0739-4467-8087-a9e650b26e6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BD3D5FB-AEE0-46A7-8289-818A621CDF36}">
  <ds:schemaRefs/>
</ds:datastoreItem>
</file>

<file path=customXml/itemProps3.xml><?xml version="1.0" encoding="utf-8"?>
<ds:datastoreItem xmlns:ds="http://schemas.openxmlformats.org/officeDocument/2006/customXml" ds:itemID="{33A9D2B1-910A-4890-A149-E85A43544B5D}">
  <ds:schemaRefs/>
</ds:datastoreItem>
</file>

<file path=customXml/itemProps4.xml><?xml version="1.0" encoding="utf-8"?>
<ds:datastoreItem xmlns:ds="http://schemas.openxmlformats.org/officeDocument/2006/customXml" ds:itemID="{B8637C36-4996-4BF0-9817-9AE4E45FB3C9}">
  <ds:schemaRefs/>
</ds:datastoreItem>
</file>

<file path=customXml/itemProps5.xml><?xml version="1.0" encoding="utf-8"?>
<ds:datastoreItem xmlns:ds="http://schemas.openxmlformats.org/officeDocument/2006/customXml" ds:itemID="{E3206C3F-9075-4ED1-A9D7-768CD599C06F}">
  <ds:schemaRefs/>
</ds:datastoreItem>
</file>

<file path=customXml/itemProps6.xml><?xml version="1.0" encoding="utf-8"?>
<ds:datastoreItem xmlns:ds="http://schemas.openxmlformats.org/officeDocument/2006/customXml" ds:itemID="{512E9EB6-BE14-4E9B-B53A-6D95BDD731E5}">
  <ds:schemaRefs>
    <ds:schemaRef ds:uri="http://schemas.microsoft.com/sharepoint/v3/contenttype/forms"/>
  </ds:schemaRefs>
</ds:datastoreItem>
</file>

<file path=customXml/itemProps7.xml><?xml version="1.0" encoding="utf-8"?>
<ds:datastoreItem xmlns:ds="http://schemas.openxmlformats.org/officeDocument/2006/customXml" ds:itemID="{B25CBE9C-579C-4D62-9791-670FFEF0C740}">
  <ds:schemaRefs/>
</ds:datastoreItem>
</file>

<file path=customXml/itemProps8.xml><?xml version="1.0" encoding="utf-8"?>
<ds:datastoreItem xmlns:ds="http://schemas.openxmlformats.org/officeDocument/2006/customXml" ds:itemID="{D49E55AD-80F4-4EC9-8430-FD8E8D9201DC}">
  <ds:schemaRefs/>
</ds:datastoreItem>
</file>

<file path=customXml/itemProps9.xml><?xml version="1.0" encoding="utf-8"?>
<ds:datastoreItem xmlns:ds="http://schemas.openxmlformats.org/officeDocument/2006/customXml" ds:itemID="{48FCFEE4-2E78-40CD-A932-180CFC151F96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007</Words>
  <Application>Microsoft Office PowerPoint</Application>
  <PresentationFormat>Widescreen</PresentationFormat>
  <Paragraphs>805</Paragraphs>
  <Slides>43</Slides>
  <Notes>2</Notes>
  <HiddenSlides>3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49" baseType="lpstr">
      <vt:lpstr>Arial</vt:lpstr>
      <vt:lpstr>Calibri</vt:lpstr>
      <vt:lpstr>Calibri Light</vt:lpstr>
      <vt:lpstr>1_Office-tema</vt:lpstr>
      <vt:lpstr>Office-tema</vt:lpstr>
      <vt:lpstr>think-cell Slide</vt:lpstr>
      <vt:lpstr>Velkommen til kick-off!</vt:lpstr>
      <vt:lpstr>Kort før vi begynner</vt:lpstr>
      <vt:lpstr>Agenda</vt:lpstr>
      <vt:lpstr>Agenda</vt:lpstr>
      <vt:lpstr>Velkommen!</vt:lpstr>
      <vt:lpstr>Agenda</vt:lpstr>
      <vt:lpstr>Hva forventer du å få ut av disse to timene? Gå inn på menti.com og bruk koden 96 73 20 0</vt:lpstr>
      <vt:lpstr>Agenda</vt:lpstr>
      <vt:lpstr>Før vi begynner med presentasjonene</vt:lpstr>
      <vt:lpstr>Kort status fra prosjektet</vt:lpstr>
      <vt:lpstr>BOTT ØL Innføring</vt:lpstr>
      <vt:lpstr>Agenda</vt:lpstr>
      <vt:lpstr>PowerPoint Presentation</vt:lpstr>
      <vt:lpstr>PowerPoint Presentation</vt:lpstr>
      <vt:lpstr>Agenda</vt:lpstr>
      <vt:lpstr>Agenda</vt:lpstr>
      <vt:lpstr>Økonomimodell</vt:lpstr>
      <vt:lpstr>Agenda</vt:lpstr>
      <vt:lpstr>PowerPoint Presentation</vt:lpstr>
      <vt:lpstr>PowerPoint Presentation</vt:lpstr>
      <vt:lpstr>PowerPoint Presentation</vt:lpstr>
      <vt:lpstr>Agenda</vt:lpstr>
      <vt:lpstr>Systeminnføring</vt:lpstr>
      <vt:lpstr>Agenda</vt:lpstr>
      <vt:lpstr>Prosessgjennomgang</vt:lpstr>
      <vt:lpstr>PowerPoint Presentation</vt:lpstr>
      <vt:lpstr>PowerPoint Presentation</vt:lpstr>
      <vt:lpstr>PowerPoint Presentation</vt:lpstr>
      <vt:lpstr>Etablering av ressursteam og kjerneteam</vt:lpstr>
      <vt:lpstr>Detaljert framdriftsplan</vt:lpstr>
      <vt:lpstr>Agenda</vt:lpstr>
      <vt:lpstr>Organisasjonsprosesser</vt:lpstr>
      <vt:lpstr>Organisasjonsprosesser</vt:lpstr>
      <vt:lpstr>Agenda</vt:lpstr>
      <vt:lpstr>Pause</vt:lpstr>
      <vt:lpstr>Agenda</vt:lpstr>
      <vt:lpstr>Spørsmål og svar på Mentimeter</vt:lpstr>
      <vt:lpstr>Agenda</vt:lpstr>
      <vt:lpstr>Hva vil dette kreve av oss? Gå inn på menti.com og bruk koden 96 73 20 0</vt:lpstr>
      <vt:lpstr>Agenda</vt:lpstr>
      <vt:lpstr>Avrunding</vt:lpstr>
      <vt:lpstr>Lurer du på noe?</vt:lpstr>
      <vt:lpstr>Takk for i dag!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ick-off BOTT ØL</dc:title>
  <dc:creator>Prestegard, Tor Sivertsen</dc:creator>
  <cp:lastModifiedBy>Merete Aagesen</cp:lastModifiedBy>
  <cp:revision>1</cp:revision>
  <cp:lastPrinted>2014-06-25T02:16:22Z</cp:lastPrinted>
  <dcterms:created xsi:type="dcterms:W3CDTF">2021-02-05T11:28:59Z</dcterms:created>
  <dcterms:modified xsi:type="dcterms:W3CDTF">2021-02-11T09:35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007D4960C04FABF7CEA7C1807523</vt:lpwstr>
  </property>
  <property fmtid="{D5CDD505-2E9C-101B-9397-08002B2CF9AE}" pid="3" name="TemplafyTimeStamp">
    <vt:lpwstr>2020-07-31T08:45:09.5009950Z</vt:lpwstr>
  </property>
</Properties>
</file>